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2.xml" ContentType="application/vnd.openxmlformats-officedocument.theme+xml"/>
  <Override PartName="/ppt/tags/tag14.xml" ContentType="application/vnd.openxmlformats-officedocument.presentationml.tags+xml"/>
  <Override PartName="/ppt/notesSlides/notesSlide1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notesSlides/notesSlide3.xml" ContentType="application/vnd.openxmlformats-officedocument.presentationml.notesSlide+xml"/>
  <Override PartName="/ppt/charts/chart2.xml" ContentType="application/vnd.openxmlformats-officedocument.drawingml.chart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notesSlides/notesSlide4.xml" ContentType="application/vnd.openxmlformats-officedocument.presentationml.notesSlide+xml"/>
  <Override PartName="/ppt/charts/chart3.xml" ContentType="application/vnd.openxmlformats-officedocument.drawingml.chart+xml"/>
  <Override PartName="/ppt/tags/tag107.xml" ContentType="application/vnd.openxmlformats-officedocument.presentationml.tags+xml"/>
  <Override PartName="/ppt/notesSlides/notesSlide5.xml" ContentType="application/vnd.openxmlformats-officedocument.presentationml.notesSlide+xml"/>
  <Override PartName="/ppt/tags/tag108.xml" ContentType="application/vnd.openxmlformats-officedocument.presentationml.tags+xml"/>
  <Override PartName="/ppt/notesSlides/notesSlide6.xml" ContentType="application/vnd.openxmlformats-officedocument.presentationml.notesSlide+xml"/>
  <Override PartName="/ppt/tags/tag109.xml" ContentType="application/vnd.openxmlformats-officedocument.presentationml.tags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9"/>
  </p:notesMasterIdLst>
  <p:sldIdLst>
    <p:sldId id="257" r:id="rId2"/>
    <p:sldId id="277" r:id="rId3"/>
    <p:sldId id="279" r:id="rId4"/>
    <p:sldId id="282" r:id="rId5"/>
    <p:sldId id="274" r:id="rId6"/>
    <p:sldId id="278" r:id="rId7"/>
    <p:sldId id="281" r:id="rId8"/>
  </p:sldIdLst>
  <p:sldSz cx="12192000" cy="6858000"/>
  <p:notesSz cx="6858000" cy="9144000"/>
  <p:custDataLst>
    <p:tags r:id="rId10"/>
  </p:custDataLst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83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 showGuides="1">
      <p:cViewPr varScale="1">
        <p:scale>
          <a:sx n="65" d="100"/>
          <a:sy n="65" d="100"/>
        </p:scale>
        <p:origin x="834" y="78"/>
      </p:cViewPr>
      <p:guideLst>
        <p:guide orient="horz" pos="2183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7887856897144824E-2"/>
          <c:y val="2.9971181556195964E-2"/>
          <c:w val="0.96422428620571032"/>
          <c:h val="0.94005763688760802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A3C7A1"/>
            </a:solidFill>
            <a:ln>
              <a:noFill/>
            </a:ln>
          </c:spPr>
          <c:invertIfNegative val="0"/>
          <c:val>
            <c:numRef>
              <c:f>Sheet1!$A$1:$C$1</c:f>
              <c:numCache>
                <c:formatCode>General</c:formatCode>
                <c:ptCount val="3"/>
                <c:pt idx="0">
                  <c:v>1711</c:v>
                </c:pt>
                <c:pt idx="1">
                  <c:v>3256</c:v>
                </c:pt>
                <c:pt idx="2">
                  <c:v>4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B99-472D-A3BC-7B11A01447EF}"/>
            </c:ext>
          </c:extLst>
        </c:ser>
        <c:ser>
          <c:idx val="1"/>
          <c:order val="1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2:$C$2</c:f>
              <c:numCache>
                <c:formatCode>General</c:formatCode>
                <c:ptCount val="3"/>
                <c:pt idx="0">
                  <c:v>2727</c:v>
                </c:pt>
                <c:pt idx="1">
                  <c:v>0</c:v>
                </c:pt>
                <c:pt idx="2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B99-472D-A3BC-7B11A01447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993924784"/>
        <c:axId val="1"/>
      </c:barChart>
      <c:catAx>
        <c:axId val="1993924784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438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99392478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5151515151515152E-2"/>
          <c:y val="2.9115341545352745E-2"/>
          <c:w val="0.96969696969696972"/>
          <c:h val="0.9417693169092945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3957BD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1.6797312430011197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CF3E-4FA6-AEBB-1CF008BBCA83}"/>
                </c:ext>
              </c:extLst>
            </c:dLbl>
            <c:dLbl>
              <c:idx val="1"/>
              <c:layout>
                <c:manualLayout>
                  <c:x val="0"/>
                  <c:y val="-1.6797312430011197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CF3E-4FA6-AEBB-1CF008BBCA8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General</c:formatCode>
                <c:ptCount val="3"/>
                <c:pt idx="0">
                  <c:v>16415</c:v>
                </c:pt>
                <c:pt idx="1">
                  <c:v>6144</c:v>
                </c:pt>
                <c:pt idx="2">
                  <c:v>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F3E-4FA6-AEBB-1CF008BBCA83}"/>
            </c:ext>
          </c:extLst>
        </c:ser>
        <c:ser>
          <c:idx val="1"/>
          <c:order val="1"/>
          <c:spPr>
            <a:solidFill>
              <a:srgbClr val="C64729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E1A7A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CF3E-4FA6-AEBB-1CF008BBCA83}"/>
              </c:ext>
            </c:extLst>
          </c:dPt>
          <c:dPt>
            <c:idx val="2"/>
            <c:invertIfNegative val="0"/>
            <c:bubble3D val="0"/>
            <c:spPr>
              <a:solidFill>
                <a:srgbClr val="46777A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CF3E-4FA6-AEBB-1CF008BBCA83}"/>
              </c:ext>
            </c:extLst>
          </c:dPt>
          <c:dLbls>
            <c:dLbl>
              <c:idx val="0"/>
              <c:layout>
                <c:manualLayout>
                  <c:x val="0"/>
                  <c:y val="-2.2396416573348264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CF3E-4FA6-AEBB-1CF008BBCA8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C$2</c:f>
              <c:numCache>
                <c:formatCode>General</c:formatCode>
                <c:ptCount val="3"/>
                <c:pt idx="0">
                  <c:v>7236</c:v>
                </c:pt>
                <c:pt idx="1">
                  <c:v>1199</c:v>
                </c:pt>
                <c:pt idx="2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F3E-4FA6-AEBB-1CF008BBCA83}"/>
            </c:ext>
          </c:extLst>
        </c:ser>
        <c:ser>
          <c:idx val="2"/>
          <c:order val="2"/>
          <c:spPr>
            <a:solidFill>
              <a:srgbClr val="E1A7AF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6-CF3E-4FA6-AEBB-1CF008BBCA83}"/>
              </c:ext>
            </c:extLst>
          </c:dPt>
          <c:dLbls>
            <c:dLbl>
              <c:idx val="0"/>
              <c:layout>
                <c:manualLayout>
                  <c:x val="-4.4871794871794872E-2"/>
                  <c:y val="-1.6797312430011197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CF3E-4FA6-AEBB-1CF008BBCA8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C$3</c:f>
              <c:numCache>
                <c:formatCode>General</c:formatCode>
                <c:ptCount val="3"/>
                <c:pt idx="0">
                  <c:v>1684</c:v>
                </c:pt>
                <c:pt idx="1">
                  <c:v>9</c:v>
                </c:pt>
                <c:pt idx="2">
                  <c:v>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CF3E-4FA6-AEBB-1CF008BBCA83}"/>
            </c:ext>
          </c:extLst>
        </c:ser>
        <c:ser>
          <c:idx val="3"/>
          <c:order val="3"/>
          <c:spPr>
            <a:solidFill>
              <a:srgbClr val="46777A"/>
            </a:solidFill>
            <a:ln>
              <a:noFill/>
            </a:ln>
          </c:spPr>
          <c:invertIfNegative val="0"/>
          <c:val>
            <c:numRef>
              <c:f>Sheet1!$A$4:$C$4</c:f>
              <c:numCache>
                <c:formatCode>General</c:formatCode>
                <c:ptCount val="3"/>
                <c:pt idx="0">
                  <c:v>399</c:v>
                </c:pt>
                <c:pt idx="1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CF3E-4FA6-AEBB-1CF008BBCA8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616850256"/>
        <c:axId val="1"/>
      </c:barChart>
      <c:catAx>
        <c:axId val="61685025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5734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61685025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2976730572223034E-2"/>
          <c:y val="8.4572490706319697E-2"/>
          <c:w val="0.96019318015512956"/>
          <c:h val="0.89126394052044611"/>
        </c:manualLayout>
      </c:layout>
      <c:lineChart>
        <c:grouping val="standard"/>
        <c:varyColors val="0"/>
        <c:ser>
          <c:idx val="0"/>
          <c:order val="0"/>
          <c:spPr>
            <a:ln w="28575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dLbls>
            <c:dLbl>
              <c:idx val="0"/>
              <c:layout>
                <c:manualLayout>
                  <c:x val="0"/>
                  <c:y val="-4.693308550185873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41AD-444C-A618-E90C6CFC6443}"/>
                </c:ext>
              </c:extLst>
            </c:dLbl>
            <c:dLbl>
              <c:idx val="2"/>
              <c:layout>
                <c:manualLayout>
                  <c:x val="0"/>
                  <c:y val="-4.693308550185873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41AD-444C-A618-E90C6CFC6443}"/>
                </c:ext>
              </c:extLst>
            </c:dLbl>
            <c:dLbl>
              <c:idx val="4"/>
              <c:layout>
                <c:manualLayout>
                  <c:x val="0"/>
                  <c:y val="-4.693308550185873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41AD-444C-A618-E90C6CFC6443}"/>
                </c:ext>
              </c:extLst>
            </c:dLbl>
            <c:dLbl>
              <c:idx val="8"/>
              <c:layout>
                <c:manualLayout>
                  <c:x val="0"/>
                  <c:y val="-4.693308550185873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41AD-444C-A618-E90C6CFC6443}"/>
                </c:ext>
              </c:extLst>
            </c:dLbl>
            <c:dLbl>
              <c:idx val="11"/>
              <c:layout>
                <c:manualLayout>
                  <c:x val="0"/>
                  <c:y val="-4.693308550185873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41AD-444C-A618-E90C6CFC6443}"/>
                </c:ext>
              </c:extLst>
            </c:dLbl>
            <c:dLbl>
              <c:idx val="15"/>
              <c:layout>
                <c:manualLayout>
                  <c:x val="0"/>
                  <c:y val="-4.693308550185873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41AD-444C-A618-E90C6CFC6443}"/>
                </c:ext>
              </c:extLst>
            </c:dLbl>
            <c:dLbl>
              <c:idx val="17"/>
              <c:layout>
                <c:manualLayout>
                  <c:x val="0"/>
                  <c:y val="-4.693308550185873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41AD-444C-A618-E90C6CFC6443}"/>
                </c:ext>
              </c:extLst>
            </c:dLbl>
            <c:dLbl>
              <c:idx val="21"/>
              <c:layout>
                <c:manualLayout>
                  <c:x val="0"/>
                  <c:y val="-4.693308550185873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41AD-444C-A618-E90C6CFC6443}"/>
                </c:ext>
              </c:extLst>
            </c:dLbl>
            <c:dLbl>
              <c:idx val="25"/>
              <c:layout>
                <c:manualLayout>
                  <c:x val="0"/>
                  <c:y val="-4.693308550185873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41AD-444C-A618-E90C6CFC644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AA$1</c:f>
              <c:numCache>
                <c:formatCode>General</c:formatCode>
                <c:ptCount val="27"/>
                <c:pt idx="0">
                  <c:v>1380</c:v>
                </c:pt>
                <c:pt idx="1">
                  <c:v>1231</c:v>
                </c:pt>
                <c:pt idx="2">
                  <c:v>1565</c:v>
                </c:pt>
                <c:pt idx="3">
                  <c:v>1531</c:v>
                </c:pt>
                <c:pt idx="4">
                  <c:v>1498</c:v>
                </c:pt>
                <c:pt idx="5">
                  <c:v>477</c:v>
                </c:pt>
                <c:pt idx="6">
                  <c:v>11</c:v>
                </c:pt>
                <c:pt idx="7">
                  <c:v>1574</c:v>
                </c:pt>
                <c:pt idx="8">
                  <c:v>2236</c:v>
                </c:pt>
                <c:pt idx="9">
                  <c:v>1948</c:v>
                </c:pt>
                <c:pt idx="10">
                  <c:v>1747</c:v>
                </c:pt>
                <c:pt idx="11">
                  <c:v>2063</c:v>
                </c:pt>
                <c:pt idx="12">
                  <c:v>771</c:v>
                </c:pt>
                <c:pt idx="13">
                  <c:v>9</c:v>
                </c:pt>
                <c:pt idx="14">
                  <c:v>1362</c:v>
                </c:pt>
                <c:pt idx="15">
                  <c:v>2063</c:v>
                </c:pt>
                <c:pt idx="16">
                  <c:v>1757</c:v>
                </c:pt>
                <c:pt idx="17">
                  <c:v>1846</c:v>
                </c:pt>
                <c:pt idx="18">
                  <c:v>1250</c:v>
                </c:pt>
                <c:pt idx="19">
                  <c:v>444</c:v>
                </c:pt>
                <c:pt idx="20">
                  <c:v>7</c:v>
                </c:pt>
                <c:pt idx="21">
                  <c:v>686</c:v>
                </c:pt>
                <c:pt idx="22">
                  <c:v>10</c:v>
                </c:pt>
                <c:pt idx="23">
                  <c:v>1396</c:v>
                </c:pt>
                <c:pt idx="24">
                  <c:v>1832</c:v>
                </c:pt>
                <c:pt idx="25">
                  <c:v>247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41AD-444C-A618-E90C6CFC6443}"/>
            </c:ext>
          </c:extLst>
        </c:ser>
        <c:ser>
          <c:idx val="1"/>
          <c:order val="1"/>
          <c:spPr>
            <a:ln w="28575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dLbls>
            <c:dLbl>
              <c:idx val="1"/>
              <c:layout>
                <c:manualLayout>
                  <c:x val="0"/>
                  <c:y val="-4.693308550185873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41AD-444C-A618-E90C6CFC6443}"/>
                </c:ext>
              </c:extLst>
            </c:dLbl>
            <c:dLbl>
              <c:idx val="2"/>
              <c:layout>
                <c:manualLayout>
                  <c:x val="0"/>
                  <c:y val="-4.693308550185873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41AD-444C-A618-E90C6CFC6443}"/>
                </c:ext>
              </c:extLst>
            </c:dLbl>
            <c:dLbl>
              <c:idx val="3"/>
              <c:layout>
                <c:manualLayout>
                  <c:x val="0"/>
                  <c:y val="-4.693308550185873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41AD-444C-A618-E90C6CFC6443}"/>
                </c:ext>
              </c:extLst>
            </c:dLbl>
            <c:dLbl>
              <c:idx val="4"/>
              <c:layout>
                <c:manualLayout>
                  <c:x val="0"/>
                  <c:y val="-4.693308550185873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41AD-444C-A618-E90C6CFC6443}"/>
                </c:ext>
              </c:extLst>
            </c:dLbl>
            <c:dLbl>
              <c:idx val="8"/>
              <c:layout>
                <c:manualLayout>
                  <c:x val="0"/>
                  <c:y val="-4.693308550185873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41AD-444C-A618-E90C6CFC6443}"/>
                </c:ext>
              </c:extLst>
            </c:dLbl>
            <c:dLbl>
              <c:idx val="9"/>
              <c:layout>
                <c:manualLayout>
                  <c:x val="0"/>
                  <c:y val="-4.693308550185873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41AD-444C-A618-E90C6CFC6443}"/>
                </c:ext>
              </c:extLst>
            </c:dLbl>
            <c:dLbl>
              <c:idx val="10"/>
              <c:layout>
                <c:manualLayout>
                  <c:x val="0"/>
                  <c:y val="-4.693308550185873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41AD-444C-A618-E90C6CFC6443}"/>
                </c:ext>
              </c:extLst>
            </c:dLbl>
            <c:dLbl>
              <c:idx val="11"/>
              <c:layout>
                <c:manualLayout>
                  <c:x val="0"/>
                  <c:y val="-4.693308550185873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41AD-444C-A618-E90C6CFC6443}"/>
                </c:ext>
              </c:extLst>
            </c:dLbl>
            <c:dLbl>
              <c:idx val="15"/>
              <c:layout>
                <c:manualLayout>
                  <c:x val="0"/>
                  <c:y val="-4.693308550185873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41AD-444C-A618-E90C6CFC6443}"/>
                </c:ext>
              </c:extLst>
            </c:dLbl>
            <c:dLbl>
              <c:idx val="16"/>
              <c:layout>
                <c:manualLayout>
                  <c:x val="0"/>
                  <c:y val="-4.693308550185873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3-41AD-444C-A618-E90C6CFC6443}"/>
                </c:ext>
              </c:extLst>
            </c:dLbl>
            <c:dLbl>
              <c:idx val="17"/>
              <c:layout>
                <c:manualLayout>
                  <c:x val="0"/>
                  <c:y val="-4.693308550185873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4-41AD-444C-A618-E90C6CFC6443}"/>
                </c:ext>
              </c:extLst>
            </c:dLbl>
            <c:dLbl>
              <c:idx val="18"/>
              <c:layout>
                <c:manualLayout>
                  <c:x val="0"/>
                  <c:y val="-4.693308550185873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5-41AD-444C-A618-E90C6CFC6443}"/>
                </c:ext>
              </c:extLst>
            </c:dLbl>
            <c:dLbl>
              <c:idx val="21"/>
              <c:layout>
                <c:manualLayout>
                  <c:x val="0"/>
                  <c:y val="-4.693308550185873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6-41AD-444C-A618-E90C6CFC6443}"/>
                </c:ext>
              </c:extLst>
            </c:dLbl>
            <c:dLbl>
              <c:idx val="23"/>
              <c:layout>
                <c:manualLayout>
                  <c:x val="0"/>
                  <c:y val="-4.693308550185873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7-41AD-444C-A618-E90C6CFC6443}"/>
                </c:ext>
              </c:extLst>
            </c:dLbl>
            <c:dLbl>
              <c:idx val="24"/>
              <c:layout>
                <c:manualLayout>
                  <c:x val="0"/>
                  <c:y val="-4.693308550185873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8-41AD-444C-A618-E90C6CFC6443}"/>
                </c:ext>
              </c:extLst>
            </c:dLbl>
            <c:dLbl>
              <c:idx val="25"/>
              <c:layout>
                <c:manualLayout>
                  <c:x val="0"/>
                  <c:y val="-4.693308550185873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9-41AD-444C-A618-E90C6CFC6443}"/>
                </c:ext>
              </c:extLst>
            </c:dLbl>
            <c:dLbl>
              <c:idx val="26"/>
              <c:layout>
                <c:manualLayout>
                  <c:x val="0"/>
                  <c:y val="-4.693308550185873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A-41AD-444C-A618-E90C6CFC644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AA$2</c:f>
              <c:numCache>
                <c:formatCode>General</c:formatCode>
                <c:ptCount val="27"/>
                <c:pt idx="0">
                  <c:v>54</c:v>
                </c:pt>
                <c:pt idx="1">
                  <c:v>407</c:v>
                </c:pt>
                <c:pt idx="2">
                  <c:v>385</c:v>
                </c:pt>
                <c:pt idx="3">
                  <c:v>376</c:v>
                </c:pt>
                <c:pt idx="4">
                  <c:v>429</c:v>
                </c:pt>
                <c:pt idx="5">
                  <c:v>417</c:v>
                </c:pt>
                <c:pt idx="6">
                  <c:v>131</c:v>
                </c:pt>
                <c:pt idx="7">
                  <c:v>54</c:v>
                </c:pt>
                <c:pt idx="8">
                  <c:v>366</c:v>
                </c:pt>
                <c:pt idx="9">
                  <c:v>411</c:v>
                </c:pt>
                <c:pt idx="10">
                  <c:v>376</c:v>
                </c:pt>
                <c:pt idx="11">
                  <c:v>391</c:v>
                </c:pt>
                <c:pt idx="12">
                  <c:v>396</c:v>
                </c:pt>
                <c:pt idx="13">
                  <c:v>123</c:v>
                </c:pt>
                <c:pt idx="14">
                  <c:v>106</c:v>
                </c:pt>
                <c:pt idx="15">
                  <c:v>398</c:v>
                </c:pt>
                <c:pt idx="16">
                  <c:v>473</c:v>
                </c:pt>
                <c:pt idx="17">
                  <c:v>386</c:v>
                </c:pt>
                <c:pt idx="18">
                  <c:v>452</c:v>
                </c:pt>
                <c:pt idx="19">
                  <c:v>334</c:v>
                </c:pt>
                <c:pt idx="20">
                  <c:v>70</c:v>
                </c:pt>
                <c:pt idx="21">
                  <c:v>66</c:v>
                </c:pt>
                <c:pt idx="22">
                  <c:v>142</c:v>
                </c:pt>
                <c:pt idx="23">
                  <c:v>55</c:v>
                </c:pt>
                <c:pt idx="24">
                  <c:v>319</c:v>
                </c:pt>
                <c:pt idx="25">
                  <c:v>465</c:v>
                </c:pt>
                <c:pt idx="26">
                  <c:v>48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B-41AD-444C-A618-E90C6CFC644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90306944"/>
        <c:axId val="1"/>
      </c:lineChart>
      <c:catAx>
        <c:axId val="39030694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477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390306944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pt-BR" dirty="0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5AB35533-329D-4A47-A6B0-8B83EA256E78}" type="datetimeFigureOut">
              <a:rPr lang="pt-BR" smtClean="0"/>
              <a:pPr/>
              <a:t>23/03/2023</a:t>
            </a:fld>
            <a:endParaRPr lang="pt-BR" dirty="0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 dirty="0"/>
              <a:t>Clique para editar os estilos de texto Mestres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pt-BR" dirty="0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B0B72011-AA2C-4857-9CAF-C6B1EE2112CD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0557660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6603B7-C761-4605-9D43-3D5A0E05FC5C}" type="slidenum">
              <a:rPr lang="pt-BR" smtClean="0"/>
              <a:pPr/>
              <a:t>1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5871828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C042B2-EE94-48A6-BC96-E85501CDF231}" type="slidenum">
              <a:rPr lang="pt-BR" smtClean="0"/>
              <a:pPr/>
              <a:t>2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34378545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C042B2-EE94-48A6-BC96-E85501CDF231}" type="slidenum">
              <a:rPr lang="pt-BR" smtClean="0"/>
              <a:pPr/>
              <a:t>3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05531721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C042B2-EE94-48A6-BC96-E85501CDF231}" type="slidenum">
              <a:rPr lang="pt-BR" smtClean="0"/>
              <a:pPr/>
              <a:t>4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21849751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B72011-AA2C-4857-9CAF-C6B1EE2112CD}" type="slidenum">
              <a:rPr lang="pt-BR" smtClean="0"/>
              <a:pPr/>
              <a:t>5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73902820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B72011-AA2C-4857-9CAF-C6B1EE2112CD}" type="slidenum">
              <a:rPr lang="pt-BR" smtClean="0"/>
              <a:pPr/>
              <a:t>6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34960166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B72011-AA2C-4857-9CAF-C6B1EE2112CD}" type="slidenum">
              <a:rPr lang="pt-BR" smtClean="0"/>
              <a:pPr/>
              <a:t>7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77043610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id="{545D970D-17C1-50DD-F401-3188D729C33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312509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421" imgH="420" progId="TCLayout.ActiveDocument.1">
                  <p:embed/>
                </p:oleObj>
              </mc:Choice>
              <mc:Fallback>
                <p:oleObj name="Slide do think-cell" r:id="rId3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01034E77-2223-CCE1-02B1-1E3DE6ECB33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vert="horz" anchor="b"/>
          <a:lstStyle>
            <a:lvl1pPr algn="ctr" rtl="0">
              <a:defRPr sz="6000"/>
            </a:lvl1pPr>
          </a:lstStyle>
          <a:p>
            <a:r>
              <a:rPr lang="pt-BR" dirty="0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7E3DB8B4-0034-3606-91E0-D5E334D9C84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 rtl="0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AAF48318-CF10-3AB1-CD7C-4B286D5E03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08E92BBF-4B14-4C2D-8BDF-37B2D24DDF8A}" type="datetimeFigureOut">
              <a:rPr lang="pt-BR" smtClean="0"/>
              <a:pPr/>
              <a:t>23/03/2023</a:t>
            </a:fld>
            <a:endParaRPr lang="pt-BR" dirty="0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92D6CE00-14C9-EAA5-3E98-9738618116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pt-BR" dirty="0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F6405BFC-8558-E0DF-A119-B3EA413032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9D010A69-D6F0-4527-A378-F87D1CD558A8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91100929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id="{EFE88427-E3A6-5192-3A3F-1968777C58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7404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421" imgH="420" progId="TCLayout.ActiveDocument.1">
                  <p:embed/>
                </p:oleObj>
              </mc:Choice>
              <mc:Fallback>
                <p:oleObj name="Slide do think-cell" r:id="rId3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5BDE7FF7-70C9-764C-860A-81D30FF4C4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pt-BR" dirty="0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C79B46A3-6899-8CF1-6E51-B025C7BA698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pt-BR" dirty="0"/>
              <a:t>Clique para editar os estilos de texto Mestres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CB38D204-0518-E194-EDD6-51F476BD66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08E92BBF-4B14-4C2D-8BDF-37B2D24DDF8A}" type="datetimeFigureOut">
              <a:rPr lang="pt-BR" smtClean="0"/>
              <a:pPr/>
              <a:t>23/03/2023</a:t>
            </a:fld>
            <a:endParaRPr lang="pt-BR" dirty="0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95BDEC6B-6F3A-ECE5-AF42-28098D9128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pt-BR" dirty="0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2CEB8500-2F5B-5C27-11C0-70E60FEE15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9D010A69-D6F0-4527-A378-F87D1CD558A8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82544877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id="{5C10D3E7-2A92-4073-92F7-3B053C6943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308253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421" imgH="420" progId="TCLayout.ActiveDocument.1">
                  <p:embed/>
                </p:oleObj>
              </mc:Choice>
              <mc:Fallback>
                <p:oleObj name="Slide do think-cell" r:id="rId3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4462B8A9-0751-CFAE-7D53-165A7F1CB9A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>
            <a:lvl1pPr rtl="0">
              <a:defRPr/>
            </a:lvl1pPr>
          </a:lstStyle>
          <a:p>
            <a:r>
              <a:rPr lang="pt-BR" dirty="0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C9436BC9-78F3-AF47-64E8-A26F61C0403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pt-BR" dirty="0"/>
              <a:t>Clique para editar os estilos de texto Mestres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BF411905-F2EB-7503-29A5-E5B97CBA89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08E92BBF-4B14-4C2D-8BDF-37B2D24DDF8A}" type="datetimeFigureOut">
              <a:rPr lang="pt-BR" smtClean="0"/>
              <a:pPr/>
              <a:t>23/03/2023</a:t>
            </a:fld>
            <a:endParaRPr lang="pt-BR" dirty="0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D5873192-7551-DDCD-3EBA-3C76D204EC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pt-BR" dirty="0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2C2ECFAB-E25E-9DD6-23C4-2B96DBAEF3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9D010A69-D6F0-4527-A378-F87D1CD558A8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12841553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id="{48C983D6-7549-B881-5A6B-8AD2B5A577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364330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421" imgH="420" progId="TCLayout.ActiveDocument.1">
                  <p:embed/>
                </p:oleObj>
              </mc:Choice>
              <mc:Fallback>
                <p:oleObj name="Slide do think-cell" r:id="rId3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C9A61238-297D-4094-77EF-00F06E6C06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pt-BR" dirty="0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F7D6BD90-91EE-230E-0931-410FEE32358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pt-BR" dirty="0"/>
              <a:t>Clique para editar os estilos de texto Mestres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2B521FF3-8A9F-5DC6-8487-F29EECBB30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08E92BBF-4B14-4C2D-8BDF-37B2D24DDF8A}" type="datetimeFigureOut">
              <a:rPr lang="pt-BR" smtClean="0"/>
              <a:pPr/>
              <a:t>23/03/2023</a:t>
            </a:fld>
            <a:endParaRPr lang="pt-BR" dirty="0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EB2A26F4-58D1-42CC-53EA-33AFF4C074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pt-BR" dirty="0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5680F443-0C7C-6482-B407-7EFD640C24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9D010A69-D6F0-4527-A378-F87D1CD558A8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89418479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id="{728B94E8-04DF-4A4C-FA50-204C92B46F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512567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421" imgH="420" progId="TCLayout.ActiveDocument.1">
                  <p:embed/>
                </p:oleObj>
              </mc:Choice>
              <mc:Fallback>
                <p:oleObj name="Slide do think-cell" r:id="rId3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0050C8C2-C646-34B6-A3F0-11F86888A8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vert="horz" anchor="b"/>
          <a:lstStyle>
            <a:lvl1pPr rtl="0">
              <a:defRPr sz="6000"/>
            </a:lvl1pPr>
          </a:lstStyle>
          <a:p>
            <a:r>
              <a:rPr lang="pt-BR" dirty="0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C8761E2D-DB82-9F30-FBB9-FF17B27E358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 rtl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 dirty="0"/>
              <a:t>Clique para editar os estilos de texto Mestres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470375DE-8B7F-ADB5-BD9E-12477CDF50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08E92BBF-4B14-4C2D-8BDF-37B2D24DDF8A}" type="datetimeFigureOut">
              <a:rPr lang="pt-BR" smtClean="0"/>
              <a:pPr/>
              <a:t>23/03/2023</a:t>
            </a:fld>
            <a:endParaRPr lang="pt-BR" dirty="0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05F0EC23-94C7-F599-B645-E45F6A9C82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pt-BR" dirty="0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A4AD1850-6A03-F005-F67A-C406E91FA8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9D010A69-D6F0-4527-A378-F87D1CD558A8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13434908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>
            <a:extLst>
              <a:ext uri="{FF2B5EF4-FFF2-40B4-BE49-F238E27FC236}">
                <a16:creationId xmlns:a16="http://schemas.microsoft.com/office/drawing/2014/main" id="{A4286F73-FE7C-9B21-CC54-2B18CDF615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57720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421" imgH="420" progId="TCLayout.ActiveDocument.1">
                  <p:embed/>
                </p:oleObj>
              </mc:Choice>
              <mc:Fallback>
                <p:oleObj name="Slide do think-cell" r:id="rId3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E99B3B9F-39C4-634A-4CE3-C3AA91A63F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pt-BR" dirty="0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5E66DD29-AF5A-6672-83E5-DB6C9931B64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pt-BR" dirty="0"/>
              <a:t>Clique para editar os estilos de texto Mestres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F3DD0C00-2B3F-724E-D814-47948DC30BD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pt-BR" dirty="0"/>
              <a:t>Clique para editar os estilos de texto Mestres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86B9EF0A-803F-42E9-B335-5DB82A4129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08E92BBF-4B14-4C2D-8BDF-37B2D24DDF8A}" type="datetimeFigureOut">
              <a:rPr lang="pt-BR" smtClean="0"/>
              <a:pPr/>
              <a:t>23/03/2023</a:t>
            </a:fld>
            <a:endParaRPr lang="pt-BR" dirty="0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52CB66B1-D5AF-4A3E-F79F-EC42FA5DF5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pt-BR" dirty="0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8160717F-4A8E-7C63-E37B-AE0AEC0DEA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9D010A69-D6F0-4527-A378-F87D1CD558A8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428155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to 10" hidden="1">
            <a:extLst>
              <a:ext uri="{FF2B5EF4-FFF2-40B4-BE49-F238E27FC236}">
                <a16:creationId xmlns:a16="http://schemas.microsoft.com/office/drawing/2014/main" id="{616DA4F2-0A71-8F1D-F1B5-D21B2A4792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25330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421" imgH="420" progId="TCLayout.ActiveDocument.1">
                  <p:embed/>
                </p:oleObj>
              </mc:Choice>
              <mc:Fallback>
                <p:oleObj name="Slide do think-cell" r:id="rId3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5BF979F4-629F-A4F0-CED6-829AB84127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pt-BR" dirty="0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A7E47F01-FB2D-E69E-3CA0-9F73265F561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 rtl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dirty="0"/>
              <a:t>Clique para editar os estilos de texto Mestres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818F010E-2046-8EE7-6BBF-2EB85CFD3D5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pt-BR" dirty="0"/>
              <a:t>Clique para editar os estilos de texto Mestres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F2E592A1-3D09-4457-9139-6225B0F1CA8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 rtl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dirty="0"/>
              <a:t>Clique para editar os estilos de texto Mestres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FE9589E4-6290-656C-D18E-814FF5BC847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pt-BR" dirty="0"/>
              <a:t>Clique para editar os estilos de texto Mestres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sp>
        <p:nvSpPr>
          <p:cNvPr id="7" name="Espaço Reservado para Data 6">
            <a:extLst>
              <a:ext uri="{FF2B5EF4-FFF2-40B4-BE49-F238E27FC236}">
                <a16:creationId xmlns:a16="http://schemas.microsoft.com/office/drawing/2014/main" id="{F03D52BA-27CE-8D6E-202C-2B64778AF2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08E92BBF-4B14-4C2D-8BDF-37B2D24DDF8A}" type="datetimeFigureOut">
              <a:rPr lang="pt-BR" smtClean="0"/>
              <a:pPr/>
              <a:t>23/03/2023</a:t>
            </a:fld>
            <a:endParaRPr lang="pt-BR" dirty="0"/>
          </a:p>
        </p:txBody>
      </p:sp>
      <p:sp>
        <p:nvSpPr>
          <p:cNvPr id="8" name="Espaço Reservado para Rodapé 7">
            <a:extLst>
              <a:ext uri="{FF2B5EF4-FFF2-40B4-BE49-F238E27FC236}">
                <a16:creationId xmlns:a16="http://schemas.microsoft.com/office/drawing/2014/main" id="{1F1EEFCA-F14E-2481-1324-BC2ABACA20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pt-BR" dirty="0"/>
          </a:p>
        </p:txBody>
      </p:sp>
      <p:sp>
        <p:nvSpPr>
          <p:cNvPr id="9" name="Espaço Reservado para Número de Slide 8">
            <a:extLst>
              <a:ext uri="{FF2B5EF4-FFF2-40B4-BE49-F238E27FC236}">
                <a16:creationId xmlns:a16="http://schemas.microsoft.com/office/drawing/2014/main" id="{39AF1370-D3D9-ABB5-73B1-30A6455733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9D010A69-D6F0-4527-A378-F87D1CD558A8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81278501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>
            <a:extLst>
              <a:ext uri="{FF2B5EF4-FFF2-40B4-BE49-F238E27FC236}">
                <a16:creationId xmlns:a16="http://schemas.microsoft.com/office/drawing/2014/main" id="{6C6E00A3-4860-938B-0A8C-78F05D0B60F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41028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421" imgH="420" progId="TCLayout.ActiveDocument.1">
                  <p:embed/>
                </p:oleObj>
              </mc:Choice>
              <mc:Fallback>
                <p:oleObj name="Slide do think-cell" r:id="rId3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9D1FB880-2D62-C895-DD24-FA80981BB6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pt-BR" dirty="0"/>
              <a:t>Clique para editar o título Mestre</a:t>
            </a:r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9F6FDD2F-9FD8-9B20-30E8-842FB262A7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08E92BBF-4B14-4C2D-8BDF-37B2D24DDF8A}" type="datetimeFigureOut">
              <a:rPr lang="pt-BR" smtClean="0"/>
              <a:pPr/>
              <a:t>23/03/2023</a:t>
            </a:fld>
            <a:endParaRPr lang="pt-BR" dirty="0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78AF11C4-0ABD-6992-9A57-A923AD8D73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pt-B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D75C3A4B-ECCB-C140-3D8F-FBE0DB2296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9D010A69-D6F0-4527-A378-F87D1CD558A8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6111790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>
            <a:extLst>
              <a:ext uri="{FF2B5EF4-FFF2-40B4-BE49-F238E27FC236}">
                <a16:creationId xmlns:a16="http://schemas.microsoft.com/office/drawing/2014/main" id="{735DF1A4-1887-DF96-6C9E-BAE056A6388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12632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421" imgH="420" progId="TCLayout.ActiveDocument.1">
                  <p:embed/>
                </p:oleObj>
              </mc:Choice>
              <mc:Fallback>
                <p:oleObj name="Slide do think-cell" r:id="rId3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94380B03-5E3F-248C-D72F-FA01B5C4BE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08E92BBF-4B14-4C2D-8BDF-37B2D24DDF8A}" type="datetimeFigureOut">
              <a:rPr lang="pt-BR" smtClean="0"/>
              <a:pPr/>
              <a:t>23/03/2023</a:t>
            </a:fld>
            <a:endParaRPr lang="pt-BR" dirty="0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088C5B51-0349-8E3A-3796-0DD476F734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pt-BR" dirty="0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44E83862-0769-A6F3-22B3-09894D1C25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9D010A69-D6F0-4527-A378-F87D1CD558A8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34569623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>
            <a:extLst>
              <a:ext uri="{FF2B5EF4-FFF2-40B4-BE49-F238E27FC236}">
                <a16:creationId xmlns:a16="http://schemas.microsoft.com/office/drawing/2014/main" id="{F160D664-4208-DD80-9F6B-D5AB2357C4A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126040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421" imgH="420" progId="TCLayout.ActiveDocument.1">
                  <p:embed/>
                </p:oleObj>
              </mc:Choice>
              <mc:Fallback>
                <p:oleObj name="Slide do think-cell" r:id="rId3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47BB051A-FAF0-4FD3-6E77-FBDA60A227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vert="horz" anchor="b"/>
          <a:lstStyle>
            <a:lvl1pPr rtl="0">
              <a:defRPr sz="3200"/>
            </a:lvl1pPr>
          </a:lstStyle>
          <a:p>
            <a:r>
              <a:rPr lang="pt-BR" dirty="0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579211E1-962D-F5C8-4BDB-725B3D25C84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rtl="0">
              <a:defRPr sz="3200"/>
            </a:lvl1pPr>
            <a:lvl2pPr rtl="0">
              <a:defRPr sz="2800"/>
            </a:lvl2pPr>
            <a:lvl3pPr rtl="0">
              <a:defRPr sz="2400"/>
            </a:lvl3pPr>
            <a:lvl4pPr rtl="0">
              <a:defRPr sz="2000"/>
            </a:lvl4pPr>
            <a:lvl5pPr rtl="0"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 dirty="0"/>
              <a:t>Clique para editar os estilos de texto Mestres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6D5019EA-8FE6-52B0-7248-F1BC811AF5B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 rtl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 dirty="0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56527C28-9EBF-2C14-C6AB-FB9FF2FDA1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08E92BBF-4B14-4C2D-8BDF-37B2D24DDF8A}" type="datetimeFigureOut">
              <a:rPr lang="pt-BR" smtClean="0"/>
              <a:pPr/>
              <a:t>23/03/2023</a:t>
            </a:fld>
            <a:endParaRPr lang="pt-BR" dirty="0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BFEDCC0C-89A9-2AAA-CA54-78736C3083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pt-BR" dirty="0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ACDD0475-C24B-657C-B599-2384B25FA2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9D010A69-D6F0-4527-A378-F87D1CD558A8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8550454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>
            <a:extLst>
              <a:ext uri="{FF2B5EF4-FFF2-40B4-BE49-F238E27FC236}">
                <a16:creationId xmlns:a16="http://schemas.microsoft.com/office/drawing/2014/main" id="{72EA3F4D-A7AF-789F-E716-60A40259B0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432664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421" imgH="420" progId="TCLayout.ActiveDocument.1">
                  <p:embed/>
                </p:oleObj>
              </mc:Choice>
              <mc:Fallback>
                <p:oleObj name="Slide do think-cell" r:id="rId3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C7204C0B-E344-529D-3EF3-BB531B0931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vert="horz" anchor="b"/>
          <a:lstStyle>
            <a:lvl1pPr rtl="0">
              <a:defRPr sz="3200"/>
            </a:lvl1pPr>
          </a:lstStyle>
          <a:p>
            <a:r>
              <a:rPr lang="pt-BR" dirty="0"/>
              <a:t>Clique para editar o título Mestre</a:t>
            </a:r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FFE73130-0642-15E8-42C5-A7D63D5F416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0ADF029E-CC12-9979-82C3-01F987D0D4E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 rtl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 dirty="0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9AE445F4-0D95-0EEA-A0A5-8E0B2AA09C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08E92BBF-4B14-4C2D-8BDF-37B2D24DDF8A}" type="datetimeFigureOut">
              <a:rPr lang="pt-BR" smtClean="0"/>
              <a:pPr/>
              <a:t>23/03/2023</a:t>
            </a:fld>
            <a:endParaRPr lang="pt-BR" dirty="0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80EF43F8-B124-EF22-1345-462E0832AB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pt-BR" dirty="0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BC6BA042-B2EF-4F4F-ACA4-C7E08CFE1B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9D010A69-D6F0-4527-A378-F87D1CD558A8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382159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id="{57782EC7-2B23-867C-8AB4-69E92C9FBD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7378112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14" imgW="421" imgH="420" progId="TCLayout.ActiveDocument.1">
                  <p:embed/>
                </p:oleObj>
              </mc:Choice>
              <mc:Fallback>
                <p:oleObj name="Slide do think-cell" r:id="rId14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3CB8F1F6-A8F5-138C-78C7-4A4C76CFBC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 dirty="0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A6650B29-9FA7-5EA1-398B-C42F5ABEB76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dirty="0"/>
              <a:t>Clique para editar os estilos de texto Mestres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A8CAEE56-E557-892E-59C9-3F0A150CD28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E92BBF-4B14-4C2D-8BDF-37B2D24DDF8A}" type="datetimeFigureOut">
              <a:rPr lang="pt-BR" smtClean="0"/>
              <a:pPr/>
              <a:t>23/03/2023</a:t>
            </a:fld>
            <a:endParaRPr lang="pt-BR" dirty="0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CEDF00FF-DCDC-272A-6102-944EA5F6E86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 dirty="0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3CE7F572-7718-7A66-84A1-493B3A8C5CF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D010A69-D6F0-4527-A378-F87D1CD558A8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4161012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4.x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22.xml"/><Relationship Id="rId13" Type="http://schemas.openxmlformats.org/officeDocument/2006/relationships/tags" Target="../tags/tag27.xml"/><Relationship Id="rId18" Type="http://schemas.openxmlformats.org/officeDocument/2006/relationships/image" Target="../media/image1.emf"/><Relationship Id="rId3" Type="http://schemas.openxmlformats.org/officeDocument/2006/relationships/tags" Target="../tags/tag17.xml"/><Relationship Id="rId21" Type="http://schemas.openxmlformats.org/officeDocument/2006/relationships/image" Target="../media/image4.svg"/><Relationship Id="rId7" Type="http://schemas.openxmlformats.org/officeDocument/2006/relationships/tags" Target="../tags/tag21.xml"/><Relationship Id="rId12" Type="http://schemas.openxmlformats.org/officeDocument/2006/relationships/tags" Target="../tags/tag26.xml"/><Relationship Id="rId17" Type="http://schemas.openxmlformats.org/officeDocument/2006/relationships/oleObject" Target="../embeddings/oleObject14.bin"/><Relationship Id="rId2" Type="http://schemas.openxmlformats.org/officeDocument/2006/relationships/tags" Target="../tags/tag16.xml"/><Relationship Id="rId16" Type="http://schemas.openxmlformats.org/officeDocument/2006/relationships/notesSlide" Target="../notesSlides/notesSlide2.xml"/><Relationship Id="rId20" Type="http://schemas.openxmlformats.org/officeDocument/2006/relationships/image" Target="../media/image3.png"/><Relationship Id="rId1" Type="http://schemas.openxmlformats.org/officeDocument/2006/relationships/tags" Target="../tags/tag15.xml"/><Relationship Id="rId6" Type="http://schemas.openxmlformats.org/officeDocument/2006/relationships/tags" Target="../tags/tag20.xml"/><Relationship Id="rId11" Type="http://schemas.openxmlformats.org/officeDocument/2006/relationships/tags" Target="../tags/tag25.xml"/><Relationship Id="rId24" Type="http://schemas.openxmlformats.org/officeDocument/2006/relationships/image" Target="../media/image7.png"/><Relationship Id="rId5" Type="http://schemas.openxmlformats.org/officeDocument/2006/relationships/tags" Target="../tags/tag19.xml"/><Relationship Id="rId15" Type="http://schemas.openxmlformats.org/officeDocument/2006/relationships/slideLayout" Target="../slideLayouts/slideLayout7.xml"/><Relationship Id="rId23" Type="http://schemas.openxmlformats.org/officeDocument/2006/relationships/image" Target="../media/image6.svg"/><Relationship Id="rId10" Type="http://schemas.openxmlformats.org/officeDocument/2006/relationships/tags" Target="../tags/tag24.xml"/><Relationship Id="rId19" Type="http://schemas.openxmlformats.org/officeDocument/2006/relationships/chart" Target="../charts/chart1.xml"/><Relationship Id="rId4" Type="http://schemas.openxmlformats.org/officeDocument/2006/relationships/tags" Target="../tags/tag18.xml"/><Relationship Id="rId9" Type="http://schemas.openxmlformats.org/officeDocument/2006/relationships/tags" Target="../tags/tag23.xml"/><Relationship Id="rId14" Type="http://schemas.openxmlformats.org/officeDocument/2006/relationships/tags" Target="../tags/tag28.xml"/><Relationship Id="rId22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36.xml"/><Relationship Id="rId13" Type="http://schemas.openxmlformats.org/officeDocument/2006/relationships/tags" Target="../tags/tag41.xml"/><Relationship Id="rId18" Type="http://schemas.openxmlformats.org/officeDocument/2006/relationships/tags" Target="../tags/tag46.xml"/><Relationship Id="rId26" Type="http://schemas.openxmlformats.org/officeDocument/2006/relationships/chart" Target="../charts/chart2.xml"/><Relationship Id="rId3" Type="http://schemas.openxmlformats.org/officeDocument/2006/relationships/tags" Target="../tags/tag31.xml"/><Relationship Id="rId21" Type="http://schemas.openxmlformats.org/officeDocument/2006/relationships/tags" Target="../tags/tag49.xml"/><Relationship Id="rId7" Type="http://schemas.openxmlformats.org/officeDocument/2006/relationships/tags" Target="../tags/tag35.xml"/><Relationship Id="rId12" Type="http://schemas.openxmlformats.org/officeDocument/2006/relationships/tags" Target="../tags/tag40.xml"/><Relationship Id="rId17" Type="http://schemas.openxmlformats.org/officeDocument/2006/relationships/tags" Target="../tags/tag45.xml"/><Relationship Id="rId25" Type="http://schemas.openxmlformats.org/officeDocument/2006/relationships/image" Target="../media/image1.emf"/><Relationship Id="rId2" Type="http://schemas.openxmlformats.org/officeDocument/2006/relationships/tags" Target="../tags/tag30.xml"/><Relationship Id="rId16" Type="http://schemas.openxmlformats.org/officeDocument/2006/relationships/tags" Target="../tags/tag44.xml"/><Relationship Id="rId20" Type="http://schemas.openxmlformats.org/officeDocument/2006/relationships/tags" Target="../tags/tag48.xml"/><Relationship Id="rId29" Type="http://schemas.openxmlformats.org/officeDocument/2006/relationships/image" Target="../media/image10.png"/><Relationship Id="rId1" Type="http://schemas.openxmlformats.org/officeDocument/2006/relationships/tags" Target="../tags/tag29.xml"/><Relationship Id="rId6" Type="http://schemas.openxmlformats.org/officeDocument/2006/relationships/tags" Target="../tags/tag34.xml"/><Relationship Id="rId11" Type="http://schemas.openxmlformats.org/officeDocument/2006/relationships/tags" Target="../tags/tag39.xml"/><Relationship Id="rId24" Type="http://schemas.openxmlformats.org/officeDocument/2006/relationships/oleObject" Target="../embeddings/oleObject15.bin"/><Relationship Id="rId5" Type="http://schemas.openxmlformats.org/officeDocument/2006/relationships/tags" Target="../tags/tag33.xml"/><Relationship Id="rId15" Type="http://schemas.openxmlformats.org/officeDocument/2006/relationships/tags" Target="../tags/tag43.xml"/><Relationship Id="rId23" Type="http://schemas.openxmlformats.org/officeDocument/2006/relationships/notesSlide" Target="../notesSlides/notesSlide3.xml"/><Relationship Id="rId28" Type="http://schemas.openxmlformats.org/officeDocument/2006/relationships/image" Target="../media/image9.svg"/><Relationship Id="rId10" Type="http://schemas.openxmlformats.org/officeDocument/2006/relationships/tags" Target="../tags/tag38.xml"/><Relationship Id="rId19" Type="http://schemas.openxmlformats.org/officeDocument/2006/relationships/tags" Target="../tags/tag47.xml"/><Relationship Id="rId4" Type="http://schemas.openxmlformats.org/officeDocument/2006/relationships/tags" Target="../tags/tag32.xml"/><Relationship Id="rId9" Type="http://schemas.openxmlformats.org/officeDocument/2006/relationships/tags" Target="../tags/tag37.xml"/><Relationship Id="rId14" Type="http://schemas.openxmlformats.org/officeDocument/2006/relationships/tags" Target="../tags/tag42.xml"/><Relationship Id="rId22" Type="http://schemas.openxmlformats.org/officeDocument/2006/relationships/slideLayout" Target="../slideLayouts/slideLayout7.xml"/><Relationship Id="rId27" Type="http://schemas.openxmlformats.org/officeDocument/2006/relationships/image" Target="../media/image8.png"/><Relationship Id="rId30" Type="http://schemas.openxmlformats.org/officeDocument/2006/relationships/image" Target="../media/image11.svg"/></Relationships>
</file>

<file path=ppt/slides/_rels/slide4.xml.rels><?xml version="1.0" encoding="UTF-8" standalone="yes"?>
<Relationships xmlns="http://schemas.openxmlformats.org/package/2006/relationships"><Relationship Id="rId13" Type="http://schemas.openxmlformats.org/officeDocument/2006/relationships/tags" Target="../tags/tag62.xml"/><Relationship Id="rId18" Type="http://schemas.openxmlformats.org/officeDocument/2006/relationships/tags" Target="../tags/tag67.xml"/><Relationship Id="rId26" Type="http://schemas.openxmlformats.org/officeDocument/2006/relationships/tags" Target="../tags/tag75.xml"/><Relationship Id="rId39" Type="http://schemas.openxmlformats.org/officeDocument/2006/relationships/tags" Target="../tags/tag88.xml"/><Relationship Id="rId21" Type="http://schemas.openxmlformats.org/officeDocument/2006/relationships/tags" Target="../tags/tag70.xml"/><Relationship Id="rId34" Type="http://schemas.openxmlformats.org/officeDocument/2006/relationships/tags" Target="../tags/tag83.xml"/><Relationship Id="rId42" Type="http://schemas.openxmlformats.org/officeDocument/2006/relationships/tags" Target="../tags/tag91.xml"/><Relationship Id="rId47" Type="http://schemas.openxmlformats.org/officeDocument/2006/relationships/tags" Target="../tags/tag96.xml"/><Relationship Id="rId50" Type="http://schemas.openxmlformats.org/officeDocument/2006/relationships/tags" Target="../tags/tag99.xml"/><Relationship Id="rId55" Type="http://schemas.openxmlformats.org/officeDocument/2006/relationships/tags" Target="../tags/tag104.xml"/><Relationship Id="rId7" Type="http://schemas.openxmlformats.org/officeDocument/2006/relationships/tags" Target="../tags/tag56.xml"/><Relationship Id="rId2" Type="http://schemas.openxmlformats.org/officeDocument/2006/relationships/tags" Target="../tags/tag51.xml"/><Relationship Id="rId16" Type="http://schemas.openxmlformats.org/officeDocument/2006/relationships/tags" Target="../tags/tag65.xml"/><Relationship Id="rId29" Type="http://schemas.openxmlformats.org/officeDocument/2006/relationships/tags" Target="../tags/tag78.xml"/><Relationship Id="rId11" Type="http://schemas.openxmlformats.org/officeDocument/2006/relationships/tags" Target="../tags/tag60.xml"/><Relationship Id="rId24" Type="http://schemas.openxmlformats.org/officeDocument/2006/relationships/tags" Target="../tags/tag73.xml"/><Relationship Id="rId32" Type="http://schemas.openxmlformats.org/officeDocument/2006/relationships/tags" Target="../tags/tag81.xml"/><Relationship Id="rId37" Type="http://schemas.openxmlformats.org/officeDocument/2006/relationships/tags" Target="../tags/tag86.xml"/><Relationship Id="rId40" Type="http://schemas.openxmlformats.org/officeDocument/2006/relationships/tags" Target="../tags/tag89.xml"/><Relationship Id="rId45" Type="http://schemas.openxmlformats.org/officeDocument/2006/relationships/tags" Target="../tags/tag94.xml"/><Relationship Id="rId53" Type="http://schemas.openxmlformats.org/officeDocument/2006/relationships/tags" Target="../tags/tag102.xml"/><Relationship Id="rId58" Type="http://schemas.openxmlformats.org/officeDocument/2006/relationships/slideLayout" Target="../slideLayouts/slideLayout7.xml"/><Relationship Id="rId5" Type="http://schemas.openxmlformats.org/officeDocument/2006/relationships/tags" Target="../tags/tag54.xml"/><Relationship Id="rId61" Type="http://schemas.openxmlformats.org/officeDocument/2006/relationships/image" Target="../media/image1.emf"/><Relationship Id="rId19" Type="http://schemas.openxmlformats.org/officeDocument/2006/relationships/tags" Target="../tags/tag68.xml"/><Relationship Id="rId14" Type="http://schemas.openxmlformats.org/officeDocument/2006/relationships/tags" Target="../tags/tag63.xml"/><Relationship Id="rId22" Type="http://schemas.openxmlformats.org/officeDocument/2006/relationships/tags" Target="../tags/tag71.xml"/><Relationship Id="rId27" Type="http://schemas.openxmlformats.org/officeDocument/2006/relationships/tags" Target="../tags/tag76.xml"/><Relationship Id="rId30" Type="http://schemas.openxmlformats.org/officeDocument/2006/relationships/tags" Target="../tags/tag79.xml"/><Relationship Id="rId35" Type="http://schemas.openxmlformats.org/officeDocument/2006/relationships/tags" Target="../tags/tag84.xml"/><Relationship Id="rId43" Type="http://schemas.openxmlformats.org/officeDocument/2006/relationships/tags" Target="../tags/tag92.xml"/><Relationship Id="rId48" Type="http://schemas.openxmlformats.org/officeDocument/2006/relationships/tags" Target="../tags/tag97.xml"/><Relationship Id="rId56" Type="http://schemas.openxmlformats.org/officeDocument/2006/relationships/tags" Target="../tags/tag105.xml"/><Relationship Id="rId8" Type="http://schemas.openxmlformats.org/officeDocument/2006/relationships/tags" Target="../tags/tag57.xml"/><Relationship Id="rId51" Type="http://schemas.openxmlformats.org/officeDocument/2006/relationships/tags" Target="../tags/tag100.xml"/><Relationship Id="rId3" Type="http://schemas.openxmlformats.org/officeDocument/2006/relationships/tags" Target="../tags/tag52.xml"/><Relationship Id="rId12" Type="http://schemas.openxmlformats.org/officeDocument/2006/relationships/tags" Target="../tags/tag61.xml"/><Relationship Id="rId17" Type="http://schemas.openxmlformats.org/officeDocument/2006/relationships/tags" Target="../tags/tag66.xml"/><Relationship Id="rId25" Type="http://schemas.openxmlformats.org/officeDocument/2006/relationships/tags" Target="../tags/tag74.xml"/><Relationship Id="rId33" Type="http://schemas.openxmlformats.org/officeDocument/2006/relationships/tags" Target="../tags/tag82.xml"/><Relationship Id="rId38" Type="http://schemas.openxmlformats.org/officeDocument/2006/relationships/tags" Target="../tags/tag87.xml"/><Relationship Id="rId46" Type="http://schemas.openxmlformats.org/officeDocument/2006/relationships/tags" Target="../tags/tag95.xml"/><Relationship Id="rId59" Type="http://schemas.openxmlformats.org/officeDocument/2006/relationships/notesSlide" Target="../notesSlides/notesSlide4.xml"/><Relationship Id="rId20" Type="http://schemas.openxmlformats.org/officeDocument/2006/relationships/tags" Target="../tags/tag69.xml"/><Relationship Id="rId41" Type="http://schemas.openxmlformats.org/officeDocument/2006/relationships/tags" Target="../tags/tag90.xml"/><Relationship Id="rId54" Type="http://schemas.openxmlformats.org/officeDocument/2006/relationships/tags" Target="../tags/tag103.xml"/><Relationship Id="rId62" Type="http://schemas.openxmlformats.org/officeDocument/2006/relationships/chart" Target="../charts/chart3.xml"/><Relationship Id="rId1" Type="http://schemas.openxmlformats.org/officeDocument/2006/relationships/tags" Target="../tags/tag50.xml"/><Relationship Id="rId6" Type="http://schemas.openxmlformats.org/officeDocument/2006/relationships/tags" Target="../tags/tag55.xml"/><Relationship Id="rId15" Type="http://schemas.openxmlformats.org/officeDocument/2006/relationships/tags" Target="../tags/tag64.xml"/><Relationship Id="rId23" Type="http://schemas.openxmlformats.org/officeDocument/2006/relationships/tags" Target="../tags/tag72.xml"/><Relationship Id="rId28" Type="http://schemas.openxmlformats.org/officeDocument/2006/relationships/tags" Target="../tags/tag77.xml"/><Relationship Id="rId36" Type="http://schemas.openxmlformats.org/officeDocument/2006/relationships/tags" Target="../tags/tag85.xml"/><Relationship Id="rId49" Type="http://schemas.openxmlformats.org/officeDocument/2006/relationships/tags" Target="../tags/tag98.xml"/><Relationship Id="rId57" Type="http://schemas.openxmlformats.org/officeDocument/2006/relationships/tags" Target="../tags/tag106.xml"/><Relationship Id="rId10" Type="http://schemas.openxmlformats.org/officeDocument/2006/relationships/tags" Target="../tags/tag59.xml"/><Relationship Id="rId31" Type="http://schemas.openxmlformats.org/officeDocument/2006/relationships/tags" Target="../tags/tag80.xml"/><Relationship Id="rId44" Type="http://schemas.openxmlformats.org/officeDocument/2006/relationships/tags" Target="../tags/tag93.xml"/><Relationship Id="rId52" Type="http://schemas.openxmlformats.org/officeDocument/2006/relationships/tags" Target="../tags/tag101.xml"/><Relationship Id="rId60" Type="http://schemas.openxmlformats.org/officeDocument/2006/relationships/oleObject" Target="../embeddings/oleObject16.bin"/><Relationship Id="rId4" Type="http://schemas.openxmlformats.org/officeDocument/2006/relationships/tags" Target="../tags/tag53.xml"/><Relationship Id="rId9" Type="http://schemas.openxmlformats.org/officeDocument/2006/relationships/tags" Target="../tags/tag5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0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0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0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7D11EA1B-9BDB-E2C9-27CF-E8FAC17D24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485303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421" imgH="420" progId="TCLayout.ActiveDocument.1">
                  <p:embed/>
                </p:oleObj>
              </mc:Choice>
              <mc:Fallback>
                <p:oleObj name="Slide do think-cell" r:id="rId4" imgW="421" imgH="42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7D11EA1B-9BDB-E2C9-27CF-E8FAC17D24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Imagem 4" descr="Mulher sentada em um sofá&#10;&#10;Descrição gerada automaticamente com confiança média">
            <a:extLst>
              <a:ext uri="{FF2B5EF4-FFF2-40B4-BE49-F238E27FC236}">
                <a16:creationId xmlns:a16="http://schemas.microsoft.com/office/drawing/2014/main" id="{27F6AC21-1667-FE14-2B0D-F227E05BE68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Retângulo 8">
            <a:extLst>
              <a:ext uri="{FF2B5EF4-FFF2-40B4-BE49-F238E27FC236}">
                <a16:creationId xmlns:a16="http://schemas.microsoft.com/office/drawing/2014/main" id="{CB9CAC15-A54C-4ED0-99A7-D5E70DE35E5B}"/>
              </a:ext>
            </a:extLst>
          </p:cNvPr>
          <p:cNvSpPr/>
          <p:nvPr/>
        </p:nvSpPr>
        <p:spPr>
          <a:xfrm>
            <a:off x="553697" y="388303"/>
            <a:ext cx="3495368" cy="630078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>
            <a:outerShdw blurRad="50800" dist="38100" dir="2700000" sx="82000" sy="82000" algn="tl" rotWithShape="0">
              <a:prstClr val="black">
                <a:alpha val="40000"/>
              </a:prstClr>
            </a:outerShd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t-BR" sz="4000" dirty="0">
                <a:solidFill>
                  <a:schemeClr val="tx1"/>
                </a:solidFill>
              </a:rPr>
              <a:t>Case </a:t>
            </a:r>
          </a:p>
          <a:p>
            <a:r>
              <a:rPr lang="pt-BR" sz="4000" dirty="0">
                <a:solidFill>
                  <a:schemeClr val="tx1"/>
                </a:solidFill>
              </a:rPr>
              <a:t>Sexto Andar</a:t>
            </a:r>
          </a:p>
          <a:p>
            <a:endParaRPr lang="pt-BR" sz="4000" dirty="0">
              <a:solidFill>
                <a:schemeClr val="tx1"/>
              </a:solidFill>
            </a:endParaRPr>
          </a:p>
          <a:p>
            <a:endParaRPr lang="pt-BR" sz="4000" dirty="0">
              <a:solidFill>
                <a:schemeClr val="tx1"/>
              </a:solidFill>
            </a:endParaRPr>
          </a:p>
          <a:p>
            <a:endParaRPr lang="pt-BR" sz="4000" dirty="0">
              <a:solidFill>
                <a:schemeClr val="tx1"/>
              </a:solidFill>
            </a:endParaRPr>
          </a:p>
          <a:p>
            <a:endParaRPr lang="pt-BR" sz="4000" dirty="0">
              <a:solidFill>
                <a:schemeClr val="tx1"/>
              </a:solidFill>
            </a:endParaRPr>
          </a:p>
          <a:p>
            <a:endParaRPr lang="pt-BR" sz="4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673171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o 12" hidden="1">
            <a:extLst>
              <a:ext uri="{FF2B5EF4-FFF2-40B4-BE49-F238E27FC236}">
                <a16:creationId xmlns:a16="http://schemas.microsoft.com/office/drawing/2014/main" id="{F63E6F76-47BD-DC24-95D9-68761A33BF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62099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17" imgW="421" imgH="420" progId="TCLayout.ActiveDocument.1">
                  <p:embed/>
                </p:oleObj>
              </mc:Choice>
              <mc:Fallback>
                <p:oleObj name="Slide do think-cell" r:id="rId17" imgW="421" imgH="420" progId="TCLayout.ActiveDocument.1">
                  <p:embed/>
                  <p:pic>
                    <p:nvPicPr>
                      <p:cNvPr id="13" name="Objeto 12" hidden="1">
                        <a:extLst>
                          <a:ext uri="{FF2B5EF4-FFF2-40B4-BE49-F238E27FC236}">
                            <a16:creationId xmlns:a16="http://schemas.microsoft.com/office/drawing/2014/main" id="{F63E6F76-47BD-DC24-95D9-68761A33B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41" name="Agrupar 540">
            <a:extLst>
              <a:ext uri="{FF2B5EF4-FFF2-40B4-BE49-F238E27FC236}">
                <a16:creationId xmlns:a16="http://schemas.microsoft.com/office/drawing/2014/main" id="{444E802A-A86A-F4D2-A4B9-023927F02444}"/>
              </a:ext>
            </a:extLst>
          </p:cNvPr>
          <p:cNvGrpSpPr/>
          <p:nvPr/>
        </p:nvGrpSpPr>
        <p:grpSpPr>
          <a:xfrm>
            <a:off x="334963" y="1416049"/>
            <a:ext cx="3700463" cy="387350"/>
            <a:chOff x="368300" y="1198464"/>
            <a:chExt cx="3699859" cy="386795"/>
          </a:xfrm>
        </p:grpSpPr>
        <p:sp>
          <p:nvSpPr>
            <p:cNvPr id="181" name="CaixaDeTexto 180">
              <a:extLst>
                <a:ext uri="{FF2B5EF4-FFF2-40B4-BE49-F238E27FC236}">
                  <a16:creationId xmlns:a16="http://schemas.microsoft.com/office/drawing/2014/main" id="{10B365C1-51DD-A143-73DC-17DB3D6FCEF2}"/>
                </a:ext>
              </a:extLst>
            </p:cNvPr>
            <p:cNvSpPr txBox="1"/>
            <p:nvPr/>
          </p:nvSpPr>
          <p:spPr>
            <a:xfrm>
              <a:off x="368300" y="1198464"/>
              <a:ext cx="369985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i="1" dirty="0"/>
                <a:t>Chamados do Canal Escrito (#N):</a:t>
              </a:r>
            </a:p>
          </p:txBody>
        </p:sp>
        <p:cxnSp>
          <p:nvCxnSpPr>
            <p:cNvPr id="216" name="Conector reto 215">
              <a:extLst>
                <a:ext uri="{FF2B5EF4-FFF2-40B4-BE49-F238E27FC236}">
                  <a16:creationId xmlns:a16="http://schemas.microsoft.com/office/drawing/2014/main" id="{2B9BFA47-D9E4-3258-8A2C-F0BA7063F15B}"/>
                </a:ext>
              </a:extLst>
            </p:cNvPr>
            <p:cNvCxnSpPr>
              <a:cxnSpLocks/>
            </p:cNvCxnSpPr>
            <p:nvPr/>
          </p:nvCxnSpPr>
          <p:spPr>
            <a:xfrm>
              <a:off x="368300" y="1585259"/>
              <a:ext cx="3624580" cy="0"/>
            </a:xfrm>
            <a:prstGeom prst="line">
              <a:avLst/>
            </a:prstGeom>
            <a:ln w="19050"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284" name="CaixaDeTexto 283">
            <a:extLst>
              <a:ext uri="{FF2B5EF4-FFF2-40B4-BE49-F238E27FC236}">
                <a16:creationId xmlns:a16="http://schemas.microsoft.com/office/drawing/2014/main" id="{1F39F7B2-689A-32AA-5370-B3E58664BBF3}"/>
              </a:ext>
            </a:extLst>
          </p:cNvPr>
          <p:cNvSpPr txBox="1"/>
          <p:nvPr/>
        </p:nvSpPr>
        <p:spPr>
          <a:xfrm>
            <a:off x="334963" y="296863"/>
            <a:ext cx="11522073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>
                <a:solidFill>
                  <a:srgbClr val="3957BD"/>
                </a:solidFill>
              </a:rPr>
              <a:t>Suporte escrito: precisamos entender melhor as solicitações via api e traçarmos planos de melhoria ao suporte via </a:t>
            </a:r>
            <a:r>
              <a:rPr lang="pt-BR" sz="2800" b="1" dirty="0" err="1">
                <a:solidFill>
                  <a:srgbClr val="3957BD"/>
                </a:solidFill>
              </a:rPr>
              <a:t>email</a:t>
            </a:r>
            <a:endParaRPr lang="pt-BR" sz="2800" b="1" dirty="0">
              <a:solidFill>
                <a:srgbClr val="3957BD"/>
              </a:solidFill>
            </a:endParaRPr>
          </a:p>
        </p:txBody>
      </p:sp>
      <p:graphicFrame>
        <p:nvGraphicFramePr>
          <p:cNvPr id="10" name="Chart 3">
            <a:extLst>
              <a:ext uri="{FF2B5EF4-FFF2-40B4-BE49-F238E27FC236}">
                <a16:creationId xmlns:a16="http://schemas.microsoft.com/office/drawing/2014/main" id="{2C48C0D5-6827-605C-D820-7474DF14DFEA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19104046"/>
              </p:ext>
            </p:extLst>
          </p:nvPr>
        </p:nvGraphicFramePr>
        <p:xfrm>
          <a:off x="790575" y="2479675"/>
          <a:ext cx="4614863" cy="27543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9"/>
          </a:graphicData>
        </a:graphic>
      </p:graphicFrame>
      <p:sp>
        <p:nvSpPr>
          <p:cNvPr id="144" name="Espaço Reservado para Texto 2">
            <a:extLst>
              <a:ext uri="{FF2B5EF4-FFF2-40B4-BE49-F238E27FC236}">
                <a16:creationId xmlns:a16="http://schemas.microsoft.com/office/drawing/2014/main" id="{A6650B29-9FA7-5EA1-398B-C42F5ABEB760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3500438" y="2897188"/>
            <a:ext cx="9128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43E894F-7C5B-4A00-AB49-7A15527C1C92}" type="datetime'''''''''''''''2''''''''''.''''''''''727'''''''''''''''''''">
              <a:rPr lang="pt-BR" altLang="en-US" sz="14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.727</a:t>
            </a:fld>
            <a:r>
              <a:rPr lang="pt-BR" altLang="en-US" sz="1400" dirty="0">
                <a:solidFill>
                  <a:schemeClr val="bg1"/>
                </a:solidFill>
                <a:effectLst/>
              </a:rPr>
              <a:t> (</a:t>
            </a:r>
            <a:fld id="{5B11DCBB-7468-4852-A3E1-BBA398B0F05C}" type="datetime'6''''''''''''''''''1''''''''''''''''''''%'''">
              <a:rPr lang="pt-BR" altLang="en-US" sz="14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1%</a:t>
            </a:fld>
            <a:r>
              <a:rPr lang="pt-BR" altLang="en-US" sz="1400" dirty="0">
                <a:solidFill>
                  <a:schemeClr val="bg1"/>
                </a:solidFill>
                <a:effectLst/>
              </a:rPr>
              <a:t>)</a:t>
            </a:r>
            <a:endParaRPr lang="pt-BR" sz="1400" dirty="0">
              <a:solidFill>
                <a:schemeClr val="bg1"/>
              </a:solidFill>
            </a:endParaRPr>
          </a:p>
        </p:txBody>
      </p:sp>
      <p:sp>
        <p:nvSpPr>
          <p:cNvPr id="449" name="Espaço Reservado para Texto 2">
            <a:extLst>
              <a:ext uri="{FF2B5EF4-FFF2-40B4-BE49-F238E27FC236}">
                <a16:creationId xmlns:a16="http://schemas.microsoft.com/office/drawing/2014/main" id="{A6650B29-9FA7-5EA1-398B-C42F5ABEB760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487362" y="3746500"/>
            <a:ext cx="24923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75D9E752-1AA7-4009-9C68-BD5EFC8166CC}" type="datetime'''''''''''''''''a''''''''''p''''i'''''''''''''''''''''''''">
              <a:rPr lang="pt-BR" altLang="en-US" sz="16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api</a:t>
            </a:fld>
            <a:endParaRPr lang="pt-BR" sz="1600" dirty="0"/>
          </a:p>
        </p:txBody>
      </p:sp>
      <p:sp>
        <p:nvSpPr>
          <p:cNvPr id="452" name="Espaço Reservado para Texto 2">
            <a:extLst>
              <a:ext uri="{FF2B5EF4-FFF2-40B4-BE49-F238E27FC236}">
                <a16:creationId xmlns:a16="http://schemas.microsoft.com/office/drawing/2014/main" id="{A6650B29-9FA7-5EA1-398B-C42F5ABEB760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284162" y="2882900"/>
            <a:ext cx="45243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30C5383-94C3-4C1D-A529-03F1668EDD66}" type="datetime'e''''''''''''m''''''''''''''''''''''a''''i''''''''''''l'''">
              <a:rPr lang="pt-BR" altLang="en-US" sz="16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email</a:t>
            </a:fld>
            <a:endParaRPr lang="pt-BR" sz="1600" dirty="0"/>
          </a:p>
        </p:txBody>
      </p:sp>
      <p:sp>
        <p:nvSpPr>
          <p:cNvPr id="145" name="Espaço Reservado para Texto 2">
            <a:extLst>
              <a:ext uri="{FF2B5EF4-FFF2-40B4-BE49-F238E27FC236}">
                <a16:creationId xmlns:a16="http://schemas.microsoft.com/office/drawing/2014/main" id="{A6650B29-9FA7-5EA1-398B-C42F5ABEB760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1274763" y="2897188"/>
            <a:ext cx="9128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7ED752A-D89B-44DC-BED1-89C5C417B71C}" type="datetime'''''''''''''''''1''.''''''''''''''7''1''''1'''''''''''''''''''">
              <a:rPr lang="pt-BR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711</a:t>
            </a:fld>
            <a:r>
              <a:rPr lang="pt-BR" altLang="en-US" sz="1400" dirty="0">
                <a:effectLst/>
              </a:rPr>
              <a:t> (</a:t>
            </a:r>
            <a:fld id="{D6A6F7DE-AF68-40BC-9AE0-EEF3B4C37814}" type="datetime'''3''9''''''''''''''''''''''''''''%'''''''''''">
              <a:rPr lang="pt-BR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9%</a:t>
            </a:fld>
            <a:r>
              <a:rPr lang="pt-BR" altLang="en-US" sz="1400" dirty="0">
                <a:effectLst/>
              </a:rPr>
              <a:t>)</a:t>
            </a:r>
            <a:endParaRPr lang="pt-BR" sz="1400" dirty="0"/>
          </a:p>
        </p:txBody>
      </p:sp>
      <p:sp>
        <p:nvSpPr>
          <p:cNvPr id="455" name="Espaço Reservado para Texto 2">
            <a:extLst>
              <a:ext uri="{FF2B5EF4-FFF2-40B4-BE49-F238E27FC236}">
                <a16:creationId xmlns:a16="http://schemas.microsoft.com/office/drawing/2014/main" id="{A6650B29-9FA7-5EA1-398B-C42F5ABEB760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384175" y="4608513"/>
            <a:ext cx="352425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702118C3-4541-4A44-BD27-A6325C9C6F46}" type="datetime'''''''''''''w''''''''''''''e''b'''''''''''''''">
              <a:rPr lang="pt-BR" altLang="en-US" sz="16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web</a:t>
            </a:fld>
            <a:endParaRPr lang="pt-BR" sz="1600" dirty="0"/>
          </a:p>
        </p:txBody>
      </p:sp>
      <p:sp>
        <p:nvSpPr>
          <p:cNvPr id="508" name="Espaço Reservado para Texto 2">
            <a:extLst>
              <a:ext uri="{FF2B5EF4-FFF2-40B4-BE49-F238E27FC236}">
                <a16:creationId xmlns:a16="http://schemas.microsoft.com/office/drawing/2014/main" id="{A6650B29-9FA7-5EA1-398B-C42F5ABEB760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5348288" y="2882900"/>
            <a:ext cx="523875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9AF9BD5-EF02-4005-9A9B-6CA87CCAF2C8}" type="datetime'''''''4''.''''''''''4''''3''''''''''''''''''''''''8'''''''">
              <a:rPr lang="pt-BR" altLang="en-US" sz="1600" b="1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.438</a:t>
            </a:fld>
            <a:endParaRPr lang="pt-BR" sz="1600" b="1" dirty="0"/>
          </a:p>
        </p:txBody>
      </p:sp>
      <p:sp>
        <p:nvSpPr>
          <p:cNvPr id="515" name="Espaço Reservado para Texto 2">
            <a:extLst>
              <a:ext uri="{FF2B5EF4-FFF2-40B4-BE49-F238E27FC236}">
                <a16:creationId xmlns:a16="http://schemas.microsoft.com/office/drawing/2014/main" id="{A6650B29-9FA7-5EA1-398B-C42F5ABEB760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4162425" y="3746500"/>
            <a:ext cx="523875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8A079EA-8E91-4FED-9593-3CCEC6234043}" type="datetime'''''''''''3''''.''''''''''256'''''''''''''''''''">
              <a:rPr lang="pt-BR" altLang="en-US" sz="1600" b="1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.256</a:t>
            </a:fld>
            <a:endParaRPr lang="pt-BR" sz="1600" b="1" dirty="0"/>
          </a:p>
        </p:txBody>
      </p:sp>
      <p:sp>
        <p:nvSpPr>
          <p:cNvPr id="511" name="Espaço Reservado para Texto 2">
            <a:extLst>
              <a:ext uri="{FF2B5EF4-FFF2-40B4-BE49-F238E27FC236}">
                <a16:creationId xmlns:a16="http://schemas.microsoft.com/office/drawing/2014/main" id="{A6650B29-9FA7-5EA1-398B-C42F5ABEB760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1395413" y="4608513"/>
            <a:ext cx="366713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5B2F5FF-8980-46B8-8CB8-172E0D435901}" type="datetime'''''4''9''''''''''''''''''5'''''''''''''''''''''''''''''''''">
              <a:rPr lang="pt-BR" altLang="en-US" sz="1600" b="1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95</a:t>
            </a:fld>
            <a:endParaRPr lang="pt-BR" sz="1600" b="1" dirty="0"/>
          </a:p>
        </p:txBody>
      </p:sp>
      <p:sp>
        <p:nvSpPr>
          <p:cNvPr id="570" name="Retângulo 569">
            <a:extLst>
              <a:ext uri="{FF2B5EF4-FFF2-40B4-BE49-F238E27FC236}">
                <a16:creationId xmlns:a16="http://schemas.microsoft.com/office/drawing/2014/main" id="{58E0E904-25BC-412B-83F4-4EDDBA2CD606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944563" y="2101850"/>
            <a:ext cx="250825" cy="187325"/>
          </a:xfrm>
          <a:prstGeom prst="rect">
            <a:avLst/>
          </a:prstGeom>
          <a:solidFill>
            <a:srgbClr val="A3C7A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571" name="Retângulo 570">
            <a:extLst>
              <a:ext uri="{FF2B5EF4-FFF2-40B4-BE49-F238E27FC236}">
                <a16:creationId xmlns:a16="http://schemas.microsoft.com/office/drawing/2014/main" id="{8B5CE658-D4C4-C74A-EDDC-942D87C0F12D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2662238" y="2101850"/>
            <a:ext cx="250825" cy="187325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567" name="Espaço Reservado para Texto 2">
            <a:extLst>
              <a:ext uri="{FF2B5EF4-FFF2-40B4-BE49-F238E27FC236}">
                <a16:creationId xmlns:a16="http://schemas.microsoft.com/office/drawing/2014/main" id="{A6650B29-9FA7-5EA1-398B-C42F5ABEB760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1246188" y="2112963"/>
            <a:ext cx="13144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EC33EDE-B8D1-4CC6-810B-33843C3B51E5}" type="datetime'''''''''D''e''''''''''ma''i''''''s ''''ch''''''''''a''mados'''">
              <a:rPr lang="pt-BR" altLang="en-US" sz="14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Demais chamados</a:t>
            </a:fld>
            <a:endParaRPr lang="pt-BR" sz="1400" dirty="0"/>
          </a:p>
        </p:txBody>
      </p:sp>
      <p:sp>
        <p:nvSpPr>
          <p:cNvPr id="565" name="Espaço Reservado para Texto 2">
            <a:extLst>
              <a:ext uri="{FF2B5EF4-FFF2-40B4-BE49-F238E27FC236}">
                <a16:creationId xmlns:a16="http://schemas.microsoft.com/office/drawing/2014/main" id="{A6650B29-9FA7-5EA1-398B-C42F5ABEB760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2963863" y="2112963"/>
            <a:ext cx="11969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23B8CFF-4EE1-4BB7-9C3B-CA392981454B}" type="datetime'C''l''''''o''''''s''''''''ed ''by'''' ''''''''''me''''rge'''''">
              <a:rPr lang="pt-BR" altLang="en-US" sz="14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Closed by merge</a:t>
            </a:fld>
            <a:endParaRPr lang="pt-BR" sz="1400" dirty="0"/>
          </a:p>
        </p:txBody>
      </p:sp>
      <p:cxnSp>
        <p:nvCxnSpPr>
          <p:cNvPr id="170" name="Conector reto 169">
            <a:extLst>
              <a:ext uri="{FF2B5EF4-FFF2-40B4-BE49-F238E27FC236}">
                <a16:creationId xmlns:a16="http://schemas.microsoft.com/office/drawing/2014/main" id="{CCB9FF8C-A672-5D1C-6E5A-93B84532A8B4}"/>
              </a:ext>
            </a:extLst>
          </p:cNvPr>
          <p:cNvCxnSpPr>
            <a:cxnSpLocks/>
          </p:cNvCxnSpPr>
          <p:nvPr/>
        </p:nvCxnSpPr>
        <p:spPr>
          <a:xfrm flipH="1">
            <a:off x="6095999" y="1635053"/>
            <a:ext cx="1" cy="4691425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2" name="Conector reto 171">
            <a:extLst>
              <a:ext uri="{FF2B5EF4-FFF2-40B4-BE49-F238E27FC236}">
                <a16:creationId xmlns:a16="http://schemas.microsoft.com/office/drawing/2014/main" id="{8F558D33-2F5F-6422-1D44-EDB91F66C6A5}"/>
              </a:ext>
            </a:extLst>
          </p:cNvPr>
          <p:cNvCxnSpPr>
            <a:cxnSpLocks/>
          </p:cNvCxnSpPr>
          <p:nvPr/>
        </p:nvCxnSpPr>
        <p:spPr>
          <a:xfrm>
            <a:off x="6306457" y="3024188"/>
            <a:ext cx="5246914" cy="0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Conector reto 176">
            <a:extLst>
              <a:ext uri="{FF2B5EF4-FFF2-40B4-BE49-F238E27FC236}">
                <a16:creationId xmlns:a16="http://schemas.microsoft.com/office/drawing/2014/main" id="{6ADA1040-784E-D8F4-CDBC-82E471CA332A}"/>
              </a:ext>
            </a:extLst>
          </p:cNvPr>
          <p:cNvCxnSpPr>
            <a:cxnSpLocks/>
          </p:cNvCxnSpPr>
          <p:nvPr/>
        </p:nvCxnSpPr>
        <p:spPr>
          <a:xfrm>
            <a:off x="6306457" y="3985260"/>
            <a:ext cx="5246914" cy="0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8" name="CaixaDeTexto 177">
            <a:extLst>
              <a:ext uri="{FF2B5EF4-FFF2-40B4-BE49-F238E27FC236}">
                <a16:creationId xmlns:a16="http://schemas.microsoft.com/office/drawing/2014/main" id="{ABE95E4B-0AC2-292D-7FF3-D119751D341C}"/>
              </a:ext>
            </a:extLst>
          </p:cNvPr>
          <p:cNvSpPr txBox="1"/>
          <p:nvPr/>
        </p:nvSpPr>
        <p:spPr>
          <a:xfrm>
            <a:off x="6976979" y="1635053"/>
            <a:ext cx="4391108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dirty="0"/>
              <a:t>Dos 1.711 chamados,</a:t>
            </a:r>
          </a:p>
          <a:p>
            <a:r>
              <a:rPr lang="pt-BR" sz="1600" dirty="0"/>
              <a:t>80% se tratam das seguintes categorias, por ordem de grandeza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600" dirty="0"/>
              <a:t>Suporte (Cliente Final, Corretor, Broker, Outros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600" dirty="0"/>
              <a:t>Aquisições</a:t>
            </a:r>
            <a:endParaRPr lang="pt-BR" sz="1600" b="1" dirty="0"/>
          </a:p>
          <a:p>
            <a:endParaRPr lang="pt-BR" sz="1600" b="1" dirty="0"/>
          </a:p>
        </p:txBody>
      </p:sp>
      <p:sp>
        <p:nvSpPr>
          <p:cNvPr id="185" name="CaixaDeTexto 184">
            <a:extLst>
              <a:ext uri="{FF2B5EF4-FFF2-40B4-BE49-F238E27FC236}">
                <a16:creationId xmlns:a16="http://schemas.microsoft.com/office/drawing/2014/main" id="{DABEA02F-62AA-3DE4-0E97-0250F2F76930}"/>
              </a:ext>
            </a:extLst>
          </p:cNvPr>
          <p:cNvSpPr txBox="1"/>
          <p:nvPr/>
        </p:nvSpPr>
        <p:spPr>
          <a:xfrm>
            <a:off x="6976979" y="3209106"/>
            <a:ext cx="439110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dirty="0"/>
              <a:t>Não possuímos o mapeamento categórico dos chamados abertos via api</a:t>
            </a:r>
            <a:endParaRPr lang="pt-BR" sz="1600" b="1" dirty="0"/>
          </a:p>
        </p:txBody>
      </p:sp>
      <p:sp>
        <p:nvSpPr>
          <p:cNvPr id="190" name="CaixaDeTexto 189">
            <a:extLst>
              <a:ext uri="{FF2B5EF4-FFF2-40B4-BE49-F238E27FC236}">
                <a16:creationId xmlns:a16="http://schemas.microsoft.com/office/drawing/2014/main" id="{E8BF764E-50B0-C527-582B-A72F1A5B34D7}"/>
              </a:ext>
            </a:extLst>
          </p:cNvPr>
          <p:cNvSpPr txBox="1"/>
          <p:nvPr/>
        </p:nvSpPr>
        <p:spPr>
          <a:xfrm>
            <a:off x="6976979" y="4125615"/>
            <a:ext cx="4391108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dirty="0"/>
              <a:t>Dos 495 chamados,</a:t>
            </a:r>
          </a:p>
          <a:p>
            <a:r>
              <a:rPr lang="pt-BR" sz="1600" dirty="0"/>
              <a:t>80% se tratam das seguintes categorias, por ordem de grandeza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600" dirty="0"/>
              <a:t>Suporte (Cliente Final, Broker, Corretor, Top Broker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600" dirty="0"/>
              <a:t>Garanti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600" dirty="0"/>
              <a:t>Mudanç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600" dirty="0"/>
              <a:t>Aquisições</a:t>
            </a:r>
            <a:r>
              <a:rPr lang="pt-BR" sz="1600" b="1" dirty="0"/>
              <a:t> </a:t>
            </a:r>
          </a:p>
        </p:txBody>
      </p:sp>
      <p:pic>
        <p:nvPicPr>
          <p:cNvPr id="3" name="Gráfico 2" descr="Web design com preenchimento sólido">
            <a:extLst>
              <a:ext uri="{FF2B5EF4-FFF2-40B4-BE49-F238E27FC236}">
                <a16:creationId xmlns:a16="http://schemas.microsoft.com/office/drawing/2014/main" id="{6DC2B856-5FA2-8756-5D2D-941C8DA4A13D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6258560" y="4718050"/>
            <a:ext cx="654638" cy="654638"/>
          </a:xfrm>
          <a:prstGeom prst="rect">
            <a:avLst/>
          </a:prstGeom>
        </p:spPr>
      </p:pic>
      <p:pic>
        <p:nvPicPr>
          <p:cNvPr id="9" name="Gráfico 8" descr="Envelope com preenchimento sólido">
            <a:extLst>
              <a:ext uri="{FF2B5EF4-FFF2-40B4-BE49-F238E27FC236}">
                <a16:creationId xmlns:a16="http://schemas.microsoft.com/office/drawing/2014/main" id="{E1901FDB-1EA5-4267-BFB2-1AAEE370734C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6209171" y="1974555"/>
            <a:ext cx="654636" cy="654636"/>
          </a:xfrm>
          <a:prstGeom prst="rect">
            <a:avLst/>
          </a:prstGeom>
        </p:spPr>
      </p:pic>
      <p:pic>
        <p:nvPicPr>
          <p:cNvPr id="11" name="Imagem 10" descr="Forma&#10;&#10;Descrição gerada automaticamente com confiança baixa">
            <a:extLst>
              <a:ext uri="{FF2B5EF4-FFF2-40B4-BE49-F238E27FC236}">
                <a16:creationId xmlns:a16="http://schemas.microsoft.com/office/drawing/2014/main" id="{3A0FB2F7-4A39-36DF-AD8D-D2FDD4829F61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58560" y="3203126"/>
            <a:ext cx="555858" cy="5558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713862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o 12" hidden="1">
            <a:extLst>
              <a:ext uri="{FF2B5EF4-FFF2-40B4-BE49-F238E27FC236}">
                <a16:creationId xmlns:a16="http://schemas.microsoft.com/office/drawing/2014/main" id="{F63E6F76-47BD-DC24-95D9-68761A33BF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43903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24" imgW="421" imgH="420" progId="TCLayout.ActiveDocument.1">
                  <p:embed/>
                </p:oleObj>
              </mc:Choice>
              <mc:Fallback>
                <p:oleObj name="Slide do think-cell" r:id="rId24" imgW="421" imgH="420" progId="TCLayout.ActiveDocument.1">
                  <p:embed/>
                  <p:pic>
                    <p:nvPicPr>
                      <p:cNvPr id="13" name="Objeto 12" hidden="1">
                        <a:extLst>
                          <a:ext uri="{FF2B5EF4-FFF2-40B4-BE49-F238E27FC236}">
                            <a16:creationId xmlns:a16="http://schemas.microsoft.com/office/drawing/2014/main" id="{F63E6F76-47BD-DC24-95D9-68761A33B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41" name="Agrupar 540">
            <a:extLst>
              <a:ext uri="{FF2B5EF4-FFF2-40B4-BE49-F238E27FC236}">
                <a16:creationId xmlns:a16="http://schemas.microsoft.com/office/drawing/2014/main" id="{444E802A-A86A-F4D2-A4B9-023927F02444}"/>
              </a:ext>
            </a:extLst>
          </p:cNvPr>
          <p:cNvGrpSpPr/>
          <p:nvPr/>
        </p:nvGrpSpPr>
        <p:grpSpPr>
          <a:xfrm>
            <a:off x="368300" y="1198464"/>
            <a:ext cx="3699859" cy="386795"/>
            <a:chOff x="368300" y="1198464"/>
            <a:chExt cx="3699859" cy="386795"/>
          </a:xfrm>
        </p:grpSpPr>
        <p:sp>
          <p:nvSpPr>
            <p:cNvPr id="181" name="CaixaDeTexto 180">
              <a:extLst>
                <a:ext uri="{FF2B5EF4-FFF2-40B4-BE49-F238E27FC236}">
                  <a16:creationId xmlns:a16="http://schemas.microsoft.com/office/drawing/2014/main" id="{10B365C1-51DD-A143-73DC-17DB3D6FCEF2}"/>
                </a:ext>
              </a:extLst>
            </p:cNvPr>
            <p:cNvSpPr txBox="1"/>
            <p:nvPr/>
          </p:nvSpPr>
          <p:spPr>
            <a:xfrm>
              <a:off x="368300" y="1198464"/>
              <a:ext cx="369985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i="1" dirty="0"/>
                <a:t>Chamados do Canal Voz (#N):</a:t>
              </a:r>
            </a:p>
          </p:txBody>
        </p:sp>
        <p:cxnSp>
          <p:nvCxnSpPr>
            <p:cNvPr id="216" name="Conector reto 215">
              <a:extLst>
                <a:ext uri="{FF2B5EF4-FFF2-40B4-BE49-F238E27FC236}">
                  <a16:creationId xmlns:a16="http://schemas.microsoft.com/office/drawing/2014/main" id="{2B9BFA47-D9E4-3258-8A2C-F0BA7063F15B}"/>
                </a:ext>
              </a:extLst>
            </p:cNvPr>
            <p:cNvCxnSpPr>
              <a:cxnSpLocks/>
            </p:cNvCxnSpPr>
            <p:nvPr/>
          </p:nvCxnSpPr>
          <p:spPr>
            <a:xfrm>
              <a:off x="368300" y="1585259"/>
              <a:ext cx="3624580" cy="0"/>
            </a:xfrm>
            <a:prstGeom prst="line">
              <a:avLst/>
            </a:prstGeom>
            <a:ln w="19050"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284" name="CaixaDeTexto 283">
            <a:extLst>
              <a:ext uri="{FF2B5EF4-FFF2-40B4-BE49-F238E27FC236}">
                <a16:creationId xmlns:a16="http://schemas.microsoft.com/office/drawing/2014/main" id="{1F39F7B2-689A-32AA-5370-B3E58664BBF3}"/>
              </a:ext>
            </a:extLst>
          </p:cNvPr>
          <p:cNvSpPr txBox="1"/>
          <p:nvPr/>
        </p:nvSpPr>
        <p:spPr>
          <a:xfrm>
            <a:off x="334963" y="296863"/>
            <a:ext cx="11522073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>
                <a:solidFill>
                  <a:srgbClr val="3957BD"/>
                </a:solidFill>
              </a:rPr>
              <a:t>Suporte chamada: precisamos focar na possiblidade de ajuste de 37% das chamadas realizadas e aprofundamento no tempo médio de chamada </a:t>
            </a:r>
          </a:p>
        </p:txBody>
      </p:sp>
      <p:sp>
        <p:nvSpPr>
          <p:cNvPr id="287" name="CaixaDeTexto 286">
            <a:extLst>
              <a:ext uri="{FF2B5EF4-FFF2-40B4-BE49-F238E27FC236}">
                <a16:creationId xmlns:a16="http://schemas.microsoft.com/office/drawing/2014/main" id="{CCC9DAE6-4C68-1A72-F9B5-C2BEAC8BB7AC}"/>
              </a:ext>
            </a:extLst>
          </p:cNvPr>
          <p:cNvSpPr txBox="1"/>
          <p:nvPr/>
        </p:nvSpPr>
        <p:spPr>
          <a:xfrm>
            <a:off x="286990" y="5941497"/>
            <a:ext cx="62317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b="1" dirty="0"/>
              <a:t>Obs.: </a:t>
            </a:r>
            <a:r>
              <a:rPr lang="pt-BR" altLang="en-US" sz="1800" dirty="0"/>
              <a:t>Outros</a:t>
            </a:r>
            <a:r>
              <a:rPr lang="pt-BR" altLang="en-US" dirty="0"/>
              <a:t> –</a:t>
            </a:r>
            <a:r>
              <a:rPr lang="pt-BR" altLang="en-US" sz="1800" dirty="0"/>
              <a:t> Corresponde a chamadas de Serviços e Internas </a:t>
            </a:r>
            <a:r>
              <a:rPr lang="pt-BR" b="1" dirty="0"/>
              <a:t> </a:t>
            </a:r>
          </a:p>
        </p:txBody>
      </p:sp>
      <p:graphicFrame>
        <p:nvGraphicFramePr>
          <p:cNvPr id="565" name="Chart 3">
            <a:extLst>
              <a:ext uri="{FF2B5EF4-FFF2-40B4-BE49-F238E27FC236}">
                <a16:creationId xmlns:a16="http://schemas.microsoft.com/office/drawing/2014/main" id="{1EDBED83-21A8-2D57-3732-1D3513968360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80162780"/>
              </p:ext>
            </p:extLst>
          </p:nvPr>
        </p:nvGraphicFramePr>
        <p:xfrm>
          <a:off x="285750" y="2368550"/>
          <a:ext cx="5448300" cy="28352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6"/>
          </a:graphicData>
        </a:graphic>
      </p:graphicFrame>
      <p:sp>
        <p:nvSpPr>
          <p:cNvPr id="28" name="Espaço Reservado para Texto 2">
            <a:extLst>
              <a:ext uri="{FF2B5EF4-FFF2-40B4-BE49-F238E27FC236}">
                <a16:creationId xmlns:a16="http://schemas.microsoft.com/office/drawing/2014/main" id="{83E55784-37B9-5200-F9D1-1911F9AD6BB4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935038" y="2157413"/>
            <a:ext cx="627063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DE68391-4D8A-4B41-96D0-210F7818AE6E}" type="datetime'2''''''''''''''''''''5''''.7''''''''3''''''''4'">
              <a:rPr lang="pt-BR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5.734</a:t>
            </a:fld>
            <a:endParaRPr lang="pt-BR" sz="1600" b="1" dirty="0"/>
          </a:p>
        </p:txBody>
      </p:sp>
      <p:sp>
        <p:nvSpPr>
          <p:cNvPr id="29" name="Espaço Reservado para Texto 2">
            <a:extLst>
              <a:ext uri="{FF2B5EF4-FFF2-40B4-BE49-F238E27FC236}">
                <a16:creationId xmlns:a16="http://schemas.microsoft.com/office/drawing/2014/main" id="{5CF31719-FC99-3B4D-7D36-5285FB85FBBF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2746375" y="4106863"/>
            <a:ext cx="523875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AED2467-1189-4294-996B-1D332B869047}" type="datetime'''''''''''7''''''.''''''''''35''''''''''''''''''''''4'''''''''">
              <a:rPr lang="pt-BR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.354</a:t>
            </a:fld>
            <a:endParaRPr lang="pt-BR" sz="1600" b="1" dirty="0"/>
          </a:p>
        </p:txBody>
      </p:sp>
      <p:sp>
        <p:nvSpPr>
          <p:cNvPr id="27" name="Espaço Reservado para Texto 2">
            <a:extLst>
              <a:ext uri="{FF2B5EF4-FFF2-40B4-BE49-F238E27FC236}">
                <a16:creationId xmlns:a16="http://schemas.microsoft.com/office/drawing/2014/main" id="{FEF420EE-C71F-2D80-6CAB-D491D97B25E8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4638675" y="4803775"/>
            <a:ext cx="263525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4DDCFCB-4AB1-497B-8BC8-479B8FC55C00}" type="datetime'''8''3'''''''''''''">
              <a:rPr lang="pt-BR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3</a:t>
            </a:fld>
            <a:endParaRPr lang="pt-BR" sz="1600" b="1" dirty="0"/>
          </a:p>
        </p:txBody>
      </p:sp>
      <p:sp>
        <p:nvSpPr>
          <p:cNvPr id="12" name="Espaço Reservado para Texto 2">
            <a:extLst>
              <a:ext uri="{FF2B5EF4-FFF2-40B4-BE49-F238E27FC236}">
                <a16:creationId xmlns:a16="http://schemas.microsoft.com/office/drawing/2014/main" id="{A6650B29-9FA7-5EA1-398B-C42F5ABEB760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4481513" y="5283200"/>
            <a:ext cx="577850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03BB4B1-DE0E-40F1-99F7-97550BF3736E}" type="datetime'''''''''''O''''u''t''''''r''''''o''s'''''''''''''">
              <a:rPr lang="pt-BR" altLang="en-US" sz="16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Outros</a:t>
            </a:fld>
            <a:endParaRPr lang="pt-BR" sz="1600" dirty="0"/>
          </a:p>
        </p:txBody>
      </p:sp>
      <p:sp>
        <p:nvSpPr>
          <p:cNvPr id="15" name="Espaço Reservado para Texto 2">
            <a:extLst>
              <a:ext uri="{FF2B5EF4-FFF2-40B4-BE49-F238E27FC236}">
                <a16:creationId xmlns:a16="http://schemas.microsoft.com/office/drawing/2014/main" id="{A6650B29-9FA7-5EA1-398B-C42F5ABEB760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854075" y="5283200"/>
            <a:ext cx="78898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C8367DE-CAE6-4782-B721-1369C89A817F}" type="datetime'''''''''''Re''''''''a''''''l''i''''za''''''''''''''da'''">
              <a:rPr lang="pt-BR" altLang="en-US" sz="16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Realizada</a:t>
            </a:fld>
            <a:endParaRPr lang="pt-BR" sz="1600" dirty="0"/>
          </a:p>
        </p:txBody>
      </p:sp>
      <p:sp>
        <p:nvSpPr>
          <p:cNvPr id="17" name="Espaço Reservado para Texto 2">
            <a:extLst>
              <a:ext uri="{FF2B5EF4-FFF2-40B4-BE49-F238E27FC236}">
                <a16:creationId xmlns:a16="http://schemas.microsoft.com/office/drawing/2014/main" id="{A6650B29-9FA7-5EA1-398B-C42F5ABEB760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2625726" y="5283200"/>
            <a:ext cx="765175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7DBF4D9-5A99-45D4-9D87-1C7969194B76}" type="datetime'''''''''''''Rece''bi''''''''d''''''a'''''''''''">
              <a:rPr lang="pt-BR" altLang="en-US" sz="16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Recebida</a:t>
            </a:fld>
            <a:endParaRPr lang="pt-BR" sz="1600" dirty="0"/>
          </a:p>
        </p:txBody>
      </p:sp>
      <p:sp>
        <p:nvSpPr>
          <p:cNvPr id="518" name="Espaço Reservado para Texto 2">
            <a:extLst>
              <a:ext uri="{FF2B5EF4-FFF2-40B4-BE49-F238E27FC236}">
                <a16:creationId xmlns:a16="http://schemas.microsoft.com/office/drawing/2014/main" id="{A6650B29-9FA7-5EA1-398B-C42F5ABEB760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2779713" y="4325938"/>
            <a:ext cx="457200" cy="192088"/>
          </a:xfrm>
          <a:prstGeom prst="rect">
            <a:avLst/>
          </a:prstGeom>
          <a:solidFill>
            <a:srgbClr val="C64729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C782764-9827-4797-B748-FAEA07E7DBDF}" type="datetime'''''''''''''''1''''''.1''9''9'''''''''''''''''''''">
              <a:rPr lang="pt-BR" altLang="en-US" sz="14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199</a:t>
            </a:fld>
            <a:endParaRPr lang="pt-BR" sz="1400" dirty="0">
              <a:solidFill>
                <a:schemeClr val="bg1"/>
              </a:solidFill>
            </a:endParaRPr>
          </a:p>
        </p:txBody>
      </p:sp>
      <p:sp>
        <p:nvSpPr>
          <p:cNvPr id="33" name="Espaço Reservado para Texto 2">
            <a:extLst>
              <a:ext uri="{FF2B5EF4-FFF2-40B4-BE49-F238E27FC236}">
                <a16:creationId xmlns:a16="http://schemas.microsoft.com/office/drawing/2014/main" id="{A6650B29-9FA7-5EA1-398B-C42F5ABEB760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4654550" y="5022850"/>
            <a:ext cx="231775" cy="192088"/>
          </a:xfrm>
          <a:prstGeom prst="rect">
            <a:avLst/>
          </a:prstGeom>
          <a:solidFill>
            <a:srgbClr val="3957BD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8A94136-D7D6-453C-9DC4-94A6F64C4F2D}" type="datetime'''''''''''''''''5''''''''''''''7'''''''''">
              <a:rPr lang="pt-BR" altLang="en-US" sz="1400" smtClean="0">
                <a:solidFill>
                  <a:schemeClr val="bg1"/>
                </a:solidFill>
                <a:effectLst/>
              </a:rPr>
              <a:pPr/>
              <a:t>57</a:t>
            </a:fld>
            <a:endParaRPr lang="pt-BR" sz="1400" dirty="0">
              <a:solidFill>
                <a:schemeClr val="bg1"/>
              </a:solidFill>
            </a:endParaRPr>
          </a:p>
        </p:txBody>
      </p:sp>
      <p:sp>
        <p:nvSpPr>
          <p:cNvPr id="34" name="Espaço Reservado para Texto 2">
            <a:extLst>
              <a:ext uri="{FF2B5EF4-FFF2-40B4-BE49-F238E27FC236}">
                <a16:creationId xmlns:a16="http://schemas.microsoft.com/office/drawing/2014/main" id="{A6650B29-9FA7-5EA1-398B-C42F5ABEB760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1333500" y="2376488"/>
            <a:ext cx="322263" cy="192088"/>
          </a:xfrm>
          <a:prstGeom prst="rect">
            <a:avLst/>
          </a:prstGeom>
          <a:solidFill>
            <a:srgbClr val="46777A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B1B5334-4900-4F53-91E1-368CE9689C40}" type="datetime'''''39''''''''''''''''''''''9'''''''''''''''">
              <a:rPr lang="pt-BR" altLang="en-US" sz="1400" smtClean="0">
                <a:solidFill>
                  <a:schemeClr val="bg1"/>
                </a:solidFill>
              </a:rPr>
              <a:pPr/>
              <a:t>399</a:t>
            </a:fld>
            <a:endParaRPr lang="pt-BR" sz="1400" dirty="0">
              <a:solidFill>
                <a:schemeClr val="bg1"/>
              </a:solidFill>
            </a:endParaRPr>
          </a:p>
        </p:txBody>
      </p:sp>
      <p:sp>
        <p:nvSpPr>
          <p:cNvPr id="45" name="Retângulo 44">
            <a:extLst>
              <a:ext uri="{FF2B5EF4-FFF2-40B4-BE49-F238E27FC236}">
                <a16:creationId xmlns:a16="http://schemas.microsoft.com/office/drawing/2014/main" id="{2FBA881D-6D56-6657-F96E-A0DEA5B00B9A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5045075" y="1657350"/>
            <a:ext cx="250825" cy="187325"/>
          </a:xfrm>
          <a:prstGeom prst="rect">
            <a:avLst/>
          </a:prstGeom>
          <a:solidFill>
            <a:srgbClr val="3957BD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2" name="Retângulo 31">
            <a:extLst>
              <a:ext uri="{FF2B5EF4-FFF2-40B4-BE49-F238E27FC236}">
                <a16:creationId xmlns:a16="http://schemas.microsoft.com/office/drawing/2014/main" id="{3BA798DE-A90F-1202-F2BF-773FE889EED5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1281113" y="1657350"/>
            <a:ext cx="250825" cy="187325"/>
          </a:xfrm>
          <a:prstGeom prst="rect">
            <a:avLst/>
          </a:prstGeom>
          <a:solidFill>
            <a:srgbClr val="C64729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48" name="Retângulo 47">
            <a:extLst>
              <a:ext uri="{FF2B5EF4-FFF2-40B4-BE49-F238E27FC236}">
                <a16:creationId xmlns:a16="http://schemas.microsoft.com/office/drawing/2014/main" id="{5197656D-5DD4-3C33-0FE2-1594666DC2C4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3997325" y="1657350"/>
            <a:ext cx="250825" cy="187325"/>
          </a:xfrm>
          <a:prstGeom prst="rect">
            <a:avLst/>
          </a:prstGeom>
          <a:solidFill>
            <a:srgbClr val="46777A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6" name="Retângulo 45">
            <a:extLst>
              <a:ext uri="{FF2B5EF4-FFF2-40B4-BE49-F238E27FC236}">
                <a16:creationId xmlns:a16="http://schemas.microsoft.com/office/drawing/2014/main" id="{118009A4-88E5-1C5A-009E-F962441C155A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2606675" y="1657350"/>
            <a:ext cx="250825" cy="187325"/>
          </a:xfrm>
          <a:prstGeom prst="rect">
            <a:avLst/>
          </a:prstGeom>
          <a:solidFill>
            <a:srgbClr val="E1A7AF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9" name="Retângulo 48">
            <a:extLst>
              <a:ext uri="{FF2B5EF4-FFF2-40B4-BE49-F238E27FC236}">
                <a16:creationId xmlns:a16="http://schemas.microsoft.com/office/drawing/2014/main" id="{B5B51D20-1B19-1DB8-7C21-10181BC8B930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393700" y="1657350"/>
            <a:ext cx="250825" cy="187325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6" name="Espaço Reservado para Texto 2">
            <a:extLst>
              <a:ext uri="{FF2B5EF4-FFF2-40B4-BE49-F238E27FC236}">
                <a16:creationId xmlns:a16="http://schemas.microsoft.com/office/drawing/2014/main" id="{A045618E-D1F4-8C27-6A43-BC1DF97F0FE4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1582738" y="1668463"/>
            <a:ext cx="9223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5F2B5F2-F23D-4126-A9AC-96BD1F7695E6}" type="datetime'A''''b''a''nd''''''''''''''on''''''''''a''''''da'''''">
              <a:rPr lang="pt-BR" altLang="en-US" sz="1400" smtClean="0"/>
              <a:pPr/>
              <a:t>Abandonada</a:t>
            </a:fld>
            <a:endParaRPr lang="pt-BR" sz="1400" dirty="0"/>
          </a:p>
        </p:txBody>
      </p:sp>
      <p:sp>
        <p:nvSpPr>
          <p:cNvPr id="21" name="Espaço Reservado para Texto 2">
            <a:extLst>
              <a:ext uri="{FF2B5EF4-FFF2-40B4-BE49-F238E27FC236}">
                <a16:creationId xmlns:a16="http://schemas.microsoft.com/office/drawing/2014/main" id="{9829CBF9-C4AA-642C-13AF-57ACA9D502B0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4298950" y="1668463"/>
            <a:ext cx="6445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1442C65-BEC4-4420-944B-327E7268F106}" type="datetime'O''''''''cu''''''''''''''''''''''''''''pad''''a'">
              <a:rPr lang="pt-BR" altLang="en-US" sz="1400" smtClean="0"/>
              <a:pPr/>
              <a:t>Ocupada</a:t>
            </a:fld>
            <a:endParaRPr lang="pt-BR" sz="1400" dirty="0"/>
          </a:p>
        </p:txBody>
      </p:sp>
      <p:sp>
        <p:nvSpPr>
          <p:cNvPr id="25" name="Espaço Reservado para Texto 2">
            <a:extLst>
              <a:ext uri="{FF2B5EF4-FFF2-40B4-BE49-F238E27FC236}">
                <a16:creationId xmlns:a16="http://schemas.microsoft.com/office/drawing/2014/main" id="{11EFC820-BF9B-9EDB-B50B-E250E3637FC8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5346700" y="1668463"/>
            <a:ext cx="6540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2CC8938-851E-462F-BF64-33E35049BE0D}" type="datetime'''''A''''''t''''''end''''i''d''''''''''''a'''''''''''''''">
              <a:rPr lang="pt-BR" altLang="en-US" sz="1400" smtClean="0"/>
              <a:pPr/>
              <a:t>Atendida</a:t>
            </a:fld>
            <a:endParaRPr lang="pt-BR" sz="1400" dirty="0"/>
          </a:p>
        </p:txBody>
      </p:sp>
      <p:sp>
        <p:nvSpPr>
          <p:cNvPr id="22" name="Espaço Reservado para Texto 2">
            <a:extLst>
              <a:ext uri="{FF2B5EF4-FFF2-40B4-BE49-F238E27FC236}">
                <a16:creationId xmlns:a16="http://schemas.microsoft.com/office/drawing/2014/main" id="{F32B9F54-C102-AA4B-7CD0-9F7515BC322E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2908300" y="1668463"/>
            <a:ext cx="9874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4119CC8-54E9-4203-B81B-F3E3BFDD0BC5}" type="datetime'''''Na''''''''''o'''' A''t''e''n''d''''i''''''da'">
              <a:rPr lang="pt-BR" altLang="en-US" sz="1400" smtClean="0"/>
              <a:pPr/>
              <a:t>Nao Atendida</a:t>
            </a:fld>
            <a:endParaRPr lang="pt-BR" sz="1400" dirty="0"/>
          </a:p>
        </p:txBody>
      </p:sp>
      <p:sp>
        <p:nvSpPr>
          <p:cNvPr id="23" name="Espaço Reservado para Texto 2">
            <a:extLst>
              <a:ext uri="{FF2B5EF4-FFF2-40B4-BE49-F238E27FC236}">
                <a16:creationId xmlns:a16="http://schemas.microsoft.com/office/drawing/2014/main" id="{2DC2AC73-272F-862B-87D5-5C11A3E6C0B4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695325" y="1668463"/>
            <a:ext cx="4841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8C2E691-B999-48FE-8D7F-3D2638BB44D8}" type="datetime'F''''''''''''''''''''al''h''''o''''''''''''''''u'''''''''''''">
              <a:rPr lang="pt-BR" altLang="en-US" sz="1400" smtClean="0"/>
              <a:pPr/>
              <a:t>Falhou</a:t>
            </a:fld>
            <a:endParaRPr lang="pt-BR" sz="1400" dirty="0"/>
          </a:p>
        </p:txBody>
      </p:sp>
      <p:cxnSp>
        <p:nvCxnSpPr>
          <p:cNvPr id="540" name="Conector reto 539">
            <a:extLst>
              <a:ext uri="{FF2B5EF4-FFF2-40B4-BE49-F238E27FC236}">
                <a16:creationId xmlns:a16="http://schemas.microsoft.com/office/drawing/2014/main" id="{D41072FF-5F33-D5AD-CE47-2DDDBAF74514}"/>
              </a:ext>
            </a:extLst>
          </p:cNvPr>
          <p:cNvCxnSpPr>
            <a:cxnSpLocks/>
          </p:cNvCxnSpPr>
          <p:nvPr/>
        </p:nvCxnSpPr>
        <p:spPr>
          <a:xfrm>
            <a:off x="6096000" y="1635053"/>
            <a:ext cx="0" cy="4098279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3" name="Conector reto 542">
            <a:extLst>
              <a:ext uri="{FF2B5EF4-FFF2-40B4-BE49-F238E27FC236}">
                <a16:creationId xmlns:a16="http://schemas.microsoft.com/office/drawing/2014/main" id="{F1579BB2-0013-C0FE-B359-177B3039A866}"/>
              </a:ext>
            </a:extLst>
          </p:cNvPr>
          <p:cNvCxnSpPr>
            <a:cxnSpLocks/>
          </p:cNvCxnSpPr>
          <p:nvPr/>
        </p:nvCxnSpPr>
        <p:spPr>
          <a:xfrm>
            <a:off x="6318062" y="4106863"/>
            <a:ext cx="5246914" cy="0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8" name="CaixaDeTexto 557">
            <a:extLst>
              <a:ext uri="{FF2B5EF4-FFF2-40B4-BE49-F238E27FC236}">
                <a16:creationId xmlns:a16="http://schemas.microsoft.com/office/drawing/2014/main" id="{2C9852FE-88EA-0ECD-0486-60B793F86EFA}"/>
              </a:ext>
            </a:extLst>
          </p:cNvPr>
          <p:cNvSpPr txBox="1"/>
          <p:nvPr/>
        </p:nvSpPr>
        <p:spPr>
          <a:xfrm>
            <a:off x="6976979" y="1635053"/>
            <a:ext cx="4391108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dirty="0"/>
              <a:t>Na categoria </a:t>
            </a:r>
            <a:r>
              <a:rPr lang="pt-BR" sz="1600" i="1" dirty="0"/>
              <a:t>Realizada</a:t>
            </a:r>
            <a:r>
              <a:rPr lang="pt-BR" sz="1600" dirty="0"/>
              <a:t>, precisamos aprofundar em três ponto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600" dirty="0"/>
              <a:t>Das chamadas </a:t>
            </a:r>
            <a:r>
              <a:rPr lang="pt-BR" sz="1600" i="1" dirty="0"/>
              <a:t>não atendidas </a:t>
            </a:r>
            <a:r>
              <a:rPr lang="pt-BR" sz="1600" dirty="0"/>
              <a:t>(30%): estamos lingando em um horário bom para o cliente? O telefone de contato está correto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600" dirty="0"/>
              <a:t>Das chamadas com </a:t>
            </a:r>
            <a:r>
              <a:rPr lang="pt-BR" sz="1600" i="1" dirty="0"/>
              <a:t>falha</a:t>
            </a:r>
            <a:r>
              <a:rPr lang="pt-BR" sz="1600" dirty="0"/>
              <a:t> (7%): isso é problema de cadastro do telefone de contato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600" dirty="0"/>
              <a:t>Nosso tempo médio de atendimento das chamadas </a:t>
            </a:r>
            <a:r>
              <a:rPr lang="pt-BR" sz="1600" i="1" dirty="0"/>
              <a:t>atendidas</a:t>
            </a:r>
            <a:r>
              <a:rPr lang="pt-BR" sz="1600" dirty="0"/>
              <a:t> é de 1min24s</a:t>
            </a:r>
          </a:p>
        </p:txBody>
      </p:sp>
      <p:sp>
        <p:nvSpPr>
          <p:cNvPr id="566" name="CaixaDeTexto 565">
            <a:extLst>
              <a:ext uri="{FF2B5EF4-FFF2-40B4-BE49-F238E27FC236}">
                <a16:creationId xmlns:a16="http://schemas.microsoft.com/office/drawing/2014/main" id="{67696F48-D600-2413-36D3-7B06112CBE22}"/>
              </a:ext>
            </a:extLst>
          </p:cNvPr>
          <p:cNvSpPr txBox="1"/>
          <p:nvPr/>
        </p:nvSpPr>
        <p:spPr>
          <a:xfrm>
            <a:off x="6976979" y="4287897"/>
            <a:ext cx="4391108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dirty="0"/>
              <a:t>Na categoria </a:t>
            </a:r>
            <a:r>
              <a:rPr lang="pt-BR" sz="1600" i="1" dirty="0"/>
              <a:t>Recebida</a:t>
            </a:r>
            <a:r>
              <a:rPr lang="pt-BR" sz="1600" dirty="0"/>
              <a:t>, precisamos aprofundar em três ponto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600" dirty="0"/>
              <a:t>As chamadas </a:t>
            </a:r>
            <a:r>
              <a:rPr lang="pt-BR" sz="1600" i="1" dirty="0"/>
              <a:t>abandonadas </a:t>
            </a:r>
            <a:r>
              <a:rPr lang="pt-BR" sz="1600" dirty="0"/>
              <a:t>tem tempo médio de 3min55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600" dirty="0"/>
              <a:t>Nós retornamos as ligações abandonadas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600" dirty="0"/>
              <a:t>As chamadas </a:t>
            </a:r>
            <a:r>
              <a:rPr lang="pt-BR" sz="1600" i="1" dirty="0"/>
              <a:t>atendidas </a:t>
            </a:r>
            <a:r>
              <a:rPr lang="pt-BR" sz="1600" dirty="0"/>
              <a:t>tem tempo médio de 3min17s</a:t>
            </a:r>
          </a:p>
        </p:txBody>
      </p:sp>
      <p:pic>
        <p:nvPicPr>
          <p:cNvPr id="3" name="Gráfico 2" descr="Call center estrutura de tópicos">
            <a:extLst>
              <a:ext uri="{FF2B5EF4-FFF2-40B4-BE49-F238E27FC236}">
                <a16:creationId xmlns:a16="http://schemas.microsoft.com/office/drawing/2014/main" id="{1ED0432A-3D71-B378-AC0A-2FA298D7F207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6242037" y="2235173"/>
            <a:ext cx="583792" cy="583792"/>
          </a:xfrm>
          <a:prstGeom prst="rect">
            <a:avLst/>
          </a:prstGeom>
        </p:spPr>
      </p:pic>
      <p:pic>
        <p:nvPicPr>
          <p:cNvPr id="8" name="Gráfico 7" descr="Viva-voz com preenchimento sólido">
            <a:extLst>
              <a:ext uri="{FF2B5EF4-FFF2-40B4-BE49-F238E27FC236}">
                <a16:creationId xmlns:a16="http://schemas.microsoft.com/office/drawing/2014/main" id="{CCBBEF91-D932-3ABD-DC1E-93BB9357FA17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6242037" y="4631146"/>
            <a:ext cx="583792" cy="5837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308810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o 12" hidden="1">
            <a:extLst>
              <a:ext uri="{FF2B5EF4-FFF2-40B4-BE49-F238E27FC236}">
                <a16:creationId xmlns:a16="http://schemas.microsoft.com/office/drawing/2014/main" id="{F63E6F76-47BD-DC24-95D9-68761A33BF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281821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60" imgW="421" imgH="420" progId="TCLayout.ActiveDocument.1">
                  <p:embed/>
                </p:oleObj>
              </mc:Choice>
              <mc:Fallback>
                <p:oleObj name="Slide do think-cell" r:id="rId60" imgW="421" imgH="420" progId="TCLayout.ActiveDocument.1">
                  <p:embed/>
                  <p:pic>
                    <p:nvPicPr>
                      <p:cNvPr id="13" name="Objeto 12" hidden="1">
                        <a:extLst>
                          <a:ext uri="{FF2B5EF4-FFF2-40B4-BE49-F238E27FC236}">
                            <a16:creationId xmlns:a16="http://schemas.microsoft.com/office/drawing/2014/main" id="{F63E6F76-47BD-DC24-95D9-68761A33B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41" name="Agrupar 540">
            <a:extLst>
              <a:ext uri="{FF2B5EF4-FFF2-40B4-BE49-F238E27FC236}">
                <a16:creationId xmlns:a16="http://schemas.microsoft.com/office/drawing/2014/main" id="{444E802A-A86A-F4D2-A4B9-023927F02444}"/>
              </a:ext>
            </a:extLst>
          </p:cNvPr>
          <p:cNvGrpSpPr/>
          <p:nvPr/>
        </p:nvGrpSpPr>
        <p:grpSpPr>
          <a:xfrm>
            <a:off x="334963" y="1377196"/>
            <a:ext cx="3699859" cy="386795"/>
            <a:chOff x="368300" y="1198464"/>
            <a:chExt cx="3699859" cy="386795"/>
          </a:xfrm>
        </p:grpSpPr>
        <p:sp>
          <p:nvSpPr>
            <p:cNvPr id="181" name="CaixaDeTexto 180">
              <a:extLst>
                <a:ext uri="{FF2B5EF4-FFF2-40B4-BE49-F238E27FC236}">
                  <a16:creationId xmlns:a16="http://schemas.microsoft.com/office/drawing/2014/main" id="{10B365C1-51DD-A143-73DC-17DB3D6FCEF2}"/>
                </a:ext>
              </a:extLst>
            </p:cNvPr>
            <p:cNvSpPr txBox="1"/>
            <p:nvPr/>
          </p:nvSpPr>
          <p:spPr>
            <a:xfrm>
              <a:off x="368300" y="1198464"/>
              <a:ext cx="369985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i="1" dirty="0"/>
                <a:t>Evolução dos chamados (#N):</a:t>
              </a:r>
            </a:p>
          </p:txBody>
        </p:sp>
        <p:cxnSp>
          <p:nvCxnSpPr>
            <p:cNvPr id="216" name="Conector reto 215">
              <a:extLst>
                <a:ext uri="{FF2B5EF4-FFF2-40B4-BE49-F238E27FC236}">
                  <a16:creationId xmlns:a16="http://schemas.microsoft.com/office/drawing/2014/main" id="{2B9BFA47-D9E4-3258-8A2C-F0BA7063F15B}"/>
                </a:ext>
              </a:extLst>
            </p:cNvPr>
            <p:cNvCxnSpPr>
              <a:cxnSpLocks/>
            </p:cNvCxnSpPr>
            <p:nvPr/>
          </p:nvCxnSpPr>
          <p:spPr>
            <a:xfrm>
              <a:off x="368300" y="1585259"/>
              <a:ext cx="3624580" cy="0"/>
            </a:xfrm>
            <a:prstGeom prst="line">
              <a:avLst/>
            </a:prstGeom>
            <a:ln w="19050"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284" name="CaixaDeTexto 283">
            <a:extLst>
              <a:ext uri="{FF2B5EF4-FFF2-40B4-BE49-F238E27FC236}">
                <a16:creationId xmlns:a16="http://schemas.microsoft.com/office/drawing/2014/main" id="{1F39F7B2-689A-32AA-5370-B3E58664BBF3}"/>
              </a:ext>
            </a:extLst>
          </p:cNvPr>
          <p:cNvSpPr txBox="1"/>
          <p:nvPr/>
        </p:nvSpPr>
        <p:spPr>
          <a:xfrm>
            <a:off x="241301" y="296863"/>
            <a:ext cx="1181100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>
                <a:solidFill>
                  <a:srgbClr val="3957BD"/>
                </a:solidFill>
              </a:rPr>
              <a:t>Em média, o canal de voz tem 4x mais demanda que o escrito. Podemos analisar se o time atual atende a quantidade de demanda por canal</a:t>
            </a:r>
          </a:p>
        </p:txBody>
      </p:sp>
      <p:graphicFrame>
        <p:nvGraphicFramePr>
          <p:cNvPr id="8" name="Chart 3">
            <a:extLst>
              <a:ext uri="{FF2B5EF4-FFF2-40B4-BE49-F238E27FC236}">
                <a16:creationId xmlns:a16="http://schemas.microsoft.com/office/drawing/2014/main" id="{C5621F41-9D05-F7E1-1972-88F6F523096F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81746642"/>
              </p:ext>
            </p:extLst>
          </p:nvPr>
        </p:nvGraphicFramePr>
        <p:xfrm>
          <a:off x="119063" y="1700213"/>
          <a:ext cx="10847387" cy="34163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2"/>
          </a:graphicData>
        </a:graphic>
      </p:graphicFrame>
      <p:sp>
        <p:nvSpPr>
          <p:cNvPr id="246" name="Seta: para a Direita 245">
            <a:extLst>
              <a:ext uri="{FF2B5EF4-FFF2-40B4-BE49-F238E27FC236}">
                <a16:creationId xmlns:a16="http://schemas.microsoft.com/office/drawing/2014/main" id="{1CF456AD-0D67-C0FB-B39B-AF5159DDB7AA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 rot="10800000">
            <a:off x="10834688" y="4598988"/>
            <a:ext cx="128587" cy="152400"/>
          </a:xfrm>
          <a:prstGeom prst="rightArrow">
            <a:avLst>
              <a:gd name="adj1" fmla="val 100000"/>
              <a:gd name="adj2" fmla="val 100000"/>
            </a:avLst>
          </a:prstGeom>
          <a:solidFill>
            <a:schemeClr val="tx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73" name="Seta: para a Direita 572">
            <a:extLst>
              <a:ext uri="{FF2B5EF4-FFF2-40B4-BE49-F238E27FC236}">
                <a16:creationId xmlns:a16="http://schemas.microsoft.com/office/drawing/2014/main" id="{A06F6EE1-7BA4-FF0C-8E56-9E26EC778205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 rot="10800000">
            <a:off x="10834688" y="3389313"/>
            <a:ext cx="128587" cy="152400"/>
          </a:xfrm>
          <a:prstGeom prst="rightArrow">
            <a:avLst>
              <a:gd name="adj1" fmla="val 100000"/>
              <a:gd name="adj2" fmla="val 100000"/>
            </a:avLst>
          </a:prstGeom>
          <a:solidFill>
            <a:schemeClr val="tx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cxnSp>
        <p:nvCxnSpPr>
          <p:cNvPr id="575" name="Conector reto 574">
            <a:extLst>
              <a:ext uri="{FF2B5EF4-FFF2-40B4-BE49-F238E27FC236}">
                <a16:creationId xmlns:a16="http://schemas.microsoft.com/office/drawing/2014/main" id="{6781B3EF-3912-6AF5-E8F5-F1685C950DA9}"/>
              </a:ext>
            </a:extLst>
          </p:cNvPr>
          <p:cNvCxnSpPr/>
          <p:nvPr>
            <p:custDataLst>
              <p:tags r:id="rId5"/>
            </p:custDataLst>
          </p:nvPr>
        </p:nvCxnSpPr>
        <p:spPr bwMode="gray">
          <a:xfrm>
            <a:off x="368300" y="3465513"/>
            <a:ext cx="10415588" cy="0"/>
          </a:xfrm>
          <a:prstGeom prst="line">
            <a:avLst/>
          </a:prstGeom>
          <a:ln w="9525" cap="flat" cmpd="sng" algn="ctr">
            <a:solidFill>
              <a:srgbClr val="364D6E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91" name="Conector reto 290">
            <a:extLst>
              <a:ext uri="{FF2B5EF4-FFF2-40B4-BE49-F238E27FC236}">
                <a16:creationId xmlns:a16="http://schemas.microsoft.com/office/drawing/2014/main" id="{0E703A98-2808-75B4-EDE7-F924EE5371AA}"/>
              </a:ext>
            </a:extLst>
          </p:cNvPr>
          <p:cNvCxnSpPr/>
          <p:nvPr>
            <p:custDataLst>
              <p:tags r:id="rId6"/>
            </p:custDataLst>
          </p:nvPr>
        </p:nvCxnSpPr>
        <p:spPr bwMode="gray">
          <a:xfrm>
            <a:off x="368300" y="4675188"/>
            <a:ext cx="10415588" cy="0"/>
          </a:xfrm>
          <a:prstGeom prst="line">
            <a:avLst/>
          </a:prstGeom>
          <a:ln w="9525" cap="flat" cmpd="sng" algn="ctr">
            <a:solidFill>
              <a:srgbClr val="C64729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55" name="Espaço Reservado para Texto 2">
            <a:extLst>
              <a:ext uri="{FF2B5EF4-FFF2-40B4-BE49-F238E27FC236}">
                <a16:creationId xmlns:a16="http://schemas.microsoft.com/office/drawing/2014/main" id="{A6650B29-9FA7-5EA1-398B-C42F5ABEB760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1847850" y="5092701"/>
            <a:ext cx="246063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D6289EE-71DA-4758-BF50-4455DB9FDCDB}" type="datetime'''''''''0''''7&#10;''s''''''e''''''''''''x'''''''''''''''''">
              <a:rPr lang="pt-BR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7
sex</a:t>
            </a:fld>
            <a:endParaRPr lang="pt-BR" sz="1400" dirty="0"/>
          </a:p>
        </p:txBody>
      </p:sp>
      <p:sp>
        <p:nvSpPr>
          <p:cNvPr id="262" name="Espaço Reservado para Texto 2">
            <a:extLst>
              <a:ext uri="{FF2B5EF4-FFF2-40B4-BE49-F238E27FC236}">
                <a16:creationId xmlns:a16="http://schemas.microsoft.com/office/drawing/2014/main" id="{A6650B29-9FA7-5EA1-398B-C42F5ABEB760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4652963" y="5092701"/>
            <a:ext cx="246063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2DF463D-C5D9-42A7-9024-1C7B17B14DF2}" type="datetime'''''''1''''''4''''''''''&#10;''s''''''''''''''''''''''e''''x'''''">
              <a:rPr lang="pt-BR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4
sex</a:t>
            </a:fld>
            <a:endParaRPr lang="pt-BR" sz="1400" dirty="0"/>
          </a:p>
        </p:txBody>
      </p:sp>
      <p:sp useBgFill="1">
        <p:nvSpPr>
          <p:cNvPr id="278" name="Espaço Reservado para Texto 2">
            <a:extLst>
              <a:ext uri="{FF2B5EF4-FFF2-40B4-BE49-F238E27FC236}">
                <a16:creationId xmlns:a16="http://schemas.microsoft.com/office/drawing/2014/main" id="{A6650B29-9FA7-5EA1-398B-C42F5ABEB760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252413" y="4716463"/>
            <a:ext cx="231775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7FBC7E0-BB15-42E1-A8DF-14BD62A068D7}" type="datetime'''''''''''''''''''''''5''''''''''''''''''''4'''''''''''''">
              <a:rPr lang="pt-BR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4</a:t>
            </a:fld>
            <a:endParaRPr lang="pt-BR" sz="1400" dirty="0"/>
          </a:p>
        </p:txBody>
      </p:sp>
      <p:sp>
        <p:nvSpPr>
          <p:cNvPr id="250" name="Espaço Reservado para Texto 2">
            <a:extLst>
              <a:ext uri="{FF2B5EF4-FFF2-40B4-BE49-F238E27FC236}">
                <a16:creationId xmlns:a16="http://schemas.microsoft.com/office/drawing/2014/main" id="{A6650B29-9FA7-5EA1-398B-C42F5ABEB760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241300" y="5092701"/>
            <a:ext cx="255588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290E61C-8C9F-4D1B-BC1C-E9FF32FEFCC8}" type="datetime'''''''''''''''0''3''''''''''''''''&#10;s''''e''''''g'''''''''''''">
              <a:rPr lang="pt-BR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3
seg</a:t>
            </a:fld>
            <a:endParaRPr lang="pt-BR" sz="1400" dirty="0"/>
          </a:p>
        </p:txBody>
      </p:sp>
      <p:sp>
        <p:nvSpPr>
          <p:cNvPr id="252" name="Espaço Reservado para Texto 2">
            <a:extLst>
              <a:ext uri="{FF2B5EF4-FFF2-40B4-BE49-F238E27FC236}">
                <a16:creationId xmlns:a16="http://schemas.microsoft.com/office/drawing/2014/main" id="{A6650B29-9FA7-5EA1-398B-C42F5ABEB760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657225" y="5092701"/>
            <a:ext cx="222250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D926538-DD86-480D-B672-28098743E8D3}" type="datetime'''''''0''''4''''&#10;''''''''''''''''t''''''''''''e''''''''r'''''">
              <a:rPr lang="pt-BR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4
ter</a:t>
            </a:fld>
            <a:endParaRPr lang="pt-BR" sz="1400" dirty="0"/>
          </a:p>
        </p:txBody>
      </p:sp>
      <p:sp useBgFill="1">
        <p:nvSpPr>
          <p:cNvPr id="535" name="Espaço Reservado para Texto 2">
            <a:extLst>
              <a:ext uri="{FF2B5EF4-FFF2-40B4-BE49-F238E27FC236}">
                <a16:creationId xmlns:a16="http://schemas.microsoft.com/office/drawing/2014/main" id="{A6650B29-9FA7-5EA1-398B-C42F5ABEB760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2211388" y="4197350"/>
            <a:ext cx="322263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89CEEB3-8BB8-44AC-8F74-2C60D7D1E10F}" type="datetime'''''''''''''4''''''''''''''''7''''''''''7'''">
              <a:rPr lang="pt-BR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77</a:t>
            </a:fld>
            <a:endParaRPr lang="pt-BR" sz="1400" dirty="0"/>
          </a:p>
        </p:txBody>
      </p:sp>
      <p:sp useBgFill="1">
        <p:nvSpPr>
          <p:cNvPr id="547" name="Espaço Reservado para Texto 2">
            <a:extLst>
              <a:ext uri="{FF2B5EF4-FFF2-40B4-BE49-F238E27FC236}">
                <a16:creationId xmlns:a16="http://schemas.microsoft.com/office/drawing/2014/main" id="{A6650B29-9FA7-5EA1-398B-C42F5ABEB760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5748338" y="3108325"/>
            <a:ext cx="45720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9AEA9C6-9D57-4869-9BC1-252B438EAAA9}" type="datetime'''1''''''''''''''''''''.36''''''2'">
              <a:rPr lang="pt-BR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362</a:t>
            </a:fld>
            <a:endParaRPr lang="pt-BR" sz="1400" dirty="0"/>
          </a:p>
        </p:txBody>
      </p:sp>
      <p:sp>
        <p:nvSpPr>
          <p:cNvPr id="253" name="Espaço Reservado para Texto 2">
            <a:extLst>
              <a:ext uri="{FF2B5EF4-FFF2-40B4-BE49-F238E27FC236}">
                <a16:creationId xmlns:a16="http://schemas.microsoft.com/office/drawing/2014/main" id="{A6650B29-9FA7-5EA1-398B-C42F5ABEB760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1027113" y="5092701"/>
            <a:ext cx="285750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08C8693-8B39-46A6-837A-2C219151C69B}" type="datetime'0''''''''''''''''''5''''&#10;''''''''''''''q''u''a'''''''''''''">
              <a:rPr lang="pt-BR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5
qua</a:t>
            </a:fld>
            <a:endParaRPr lang="pt-BR" sz="1400" dirty="0"/>
          </a:p>
        </p:txBody>
      </p:sp>
      <p:sp>
        <p:nvSpPr>
          <p:cNvPr id="256" name="Espaço Reservado para Texto 2">
            <a:extLst>
              <a:ext uri="{FF2B5EF4-FFF2-40B4-BE49-F238E27FC236}">
                <a16:creationId xmlns:a16="http://schemas.microsoft.com/office/drawing/2014/main" id="{A6650B29-9FA7-5EA1-398B-C42F5ABEB760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2241550" y="5092701"/>
            <a:ext cx="261938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870DDDF-05AC-4AF0-A46E-8DA71EF0C121}" type="datetime'0''''''''''''''''''8''''''''&#10;''''''''''s''á''''''b'''">
              <a:rPr lang="pt-BR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8
sáb</a:t>
            </a:fld>
            <a:endParaRPr lang="pt-BR" sz="1400" dirty="0"/>
          </a:p>
        </p:txBody>
      </p:sp>
      <p:sp>
        <p:nvSpPr>
          <p:cNvPr id="257" name="Espaço Reservado para Texto 2">
            <a:extLst>
              <a:ext uri="{FF2B5EF4-FFF2-40B4-BE49-F238E27FC236}">
                <a16:creationId xmlns:a16="http://schemas.microsoft.com/office/drawing/2014/main" id="{A6650B29-9FA7-5EA1-398B-C42F5ABEB760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2601913" y="5092701"/>
            <a:ext cx="341313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44FDF5C-5E77-4E20-8E08-8418F3191B28}" type="datetime'''''''''0''''''''''''''''''''''9&#10;''''''''''''''''''d''''om'">
              <a:rPr lang="pt-BR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9
dom</a:t>
            </a:fld>
            <a:endParaRPr lang="pt-BR" sz="1400" dirty="0"/>
          </a:p>
        </p:txBody>
      </p:sp>
      <p:sp useBgFill="1">
        <p:nvSpPr>
          <p:cNvPr id="538" name="Espaço Reservado para Texto 2">
            <a:extLst>
              <a:ext uri="{FF2B5EF4-FFF2-40B4-BE49-F238E27FC236}">
                <a16:creationId xmlns:a16="http://schemas.microsoft.com/office/drawing/2014/main" id="{A6650B29-9FA7-5EA1-398B-C42F5ABEB760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2943225" y="2847975"/>
            <a:ext cx="45720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AEA0827-37CD-4097-8560-82C6AA4270F0}" type="datetime'1''.''5''''''''''''''7''''''''''''''''4'''''''''''''''''''''''">
              <a:rPr lang="pt-BR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574</a:t>
            </a:fld>
            <a:endParaRPr lang="pt-BR" sz="1400" dirty="0"/>
          </a:p>
        </p:txBody>
      </p:sp>
      <p:sp useBgFill="1">
        <p:nvSpPr>
          <p:cNvPr id="549" name="Espaço Reservado para Texto 2">
            <a:extLst>
              <a:ext uri="{FF2B5EF4-FFF2-40B4-BE49-F238E27FC236}">
                <a16:creationId xmlns:a16="http://schemas.microsoft.com/office/drawing/2014/main" id="{A6650B29-9FA7-5EA1-398B-C42F5ABEB760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7350125" y="3246438"/>
            <a:ext cx="45720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C7778B3-09CC-4AA1-A17D-01F7F1116D4C}" type="datetime'''''''''''''''''''''''''''''1''''''''''''.''''2''50'''''''''''">
              <a:rPr lang="pt-BR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250</a:t>
            </a:fld>
            <a:endParaRPr lang="pt-BR" sz="1400" dirty="0"/>
          </a:p>
        </p:txBody>
      </p:sp>
      <p:sp useBgFill="1">
        <p:nvSpPr>
          <p:cNvPr id="280" name="Espaço Reservado para Texto 2">
            <a:extLst>
              <a:ext uri="{FF2B5EF4-FFF2-40B4-BE49-F238E27FC236}">
                <a16:creationId xmlns:a16="http://schemas.microsoft.com/office/drawing/2014/main" id="{A6650B29-9FA7-5EA1-398B-C42F5ABEB760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3055938" y="4716463"/>
            <a:ext cx="231775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4FEDA78-7D48-40C5-97FE-51772767B866}" type="datetime'5''''''''''''''''''''''''''''4'''''''''">
              <a:rPr lang="pt-BR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4</a:t>
            </a:fld>
            <a:endParaRPr lang="pt-BR" sz="1400" dirty="0"/>
          </a:p>
        </p:txBody>
      </p:sp>
      <p:sp useBgFill="1">
        <p:nvSpPr>
          <p:cNvPr id="554" name="Espaço Reservado para Texto 2">
            <a:extLst>
              <a:ext uri="{FF2B5EF4-FFF2-40B4-BE49-F238E27FC236}">
                <a16:creationId xmlns:a16="http://schemas.microsoft.com/office/drawing/2014/main" id="{A6650B29-9FA7-5EA1-398B-C42F5ABEB760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9353550" y="3067050"/>
            <a:ext cx="45720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7BDB5C2-2016-4132-961A-08E14555ACC6}" type="datetime'''''''''1''''''''''''''''.3''''''''''''96'''''''''''''''">
              <a:rPr lang="pt-BR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396</a:t>
            </a:fld>
            <a:endParaRPr lang="pt-BR" sz="1400" dirty="0"/>
          </a:p>
        </p:txBody>
      </p:sp>
      <p:sp>
        <p:nvSpPr>
          <p:cNvPr id="258" name="Espaço Reservado para Texto 2">
            <a:extLst>
              <a:ext uri="{FF2B5EF4-FFF2-40B4-BE49-F238E27FC236}">
                <a16:creationId xmlns:a16="http://schemas.microsoft.com/office/drawing/2014/main" id="{A6650B29-9FA7-5EA1-398B-C42F5ABEB760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3044825" y="5092701"/>
            <a:ext cx="255588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F027B3A-C56B-4987-AC00-62D63F484E0C}" type="datetime'10''&#10;''s''''''e''''''g'''''''''''''''''''''''''''''''''">
              <a:rPr lang="pt-BR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
seg</a:t>
            </a:fld>
            <a:endParaRPr lang="pt-BR" sz="1400" dirty="0"/>
          </a:p>
        </p:txBody>
      </p:sp>
      <p:sp>
        <p:nvSpPr>
          <p:cNvPr id="259" name="Espaço Reservado para Texto 2">
            <a:extLst>
              <a:ext uri="{FF2B5EF4-FFF2-40B4-BE49-F238E27FC236}">
                <a16:creationId xmlns:a16="http://schemas.microsoft.com/office/drawing/2014/main" id="{A6650B29-9FA7-5EA1-398B-C42F5ABEB760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3462338" y="5092701"/>
            <a:ext cx="222250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0A6A75A-7215-4C86-AC45-3BE7E6DF213B}" type="datetime'''''''''''''''''1''''1''''''''&#10;''t''''''''e''''''r'''''''''''">
              <a:rPr lang="pt-BR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1
ter</a:t>
            </a:fld>
            <a:endParaRPr lang="pt-BR" sz="1400" dirty="0"/>
          </a:p>
        </p:txBody>
      </p:sp>
      <p:sp useBgFill="1">
        <p:nvSpPr>
          <p:cNvPr id="542" name="Espaço Reservado para Texto 2">
            <a:extLst>
              <a:ext uri="{FF2B5EF4-FFF2-40B4-BE49-F238E27FC236}">
                <a16:creationId xmlns:a16="http://schemas.microsoft.com/office/drawing/2014/main" id="{A6650B29-9FA7-5EA1-398B-C42F5ABEB760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4144963" y="2635250"/>
            <a:ext cx="45720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6F8B536-863A-4C35-A29C-4813A44D0C83}" type="datetime'''''''''''''''1.''''''''''''''''7''''''4''''''7'''''''">
              <a:rPr lang="pt-BR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747</a:t>
            </a:fld>
            <a:endParaRPr lang="pt-BR" sz="1400" dirty="0"/>
          </a:p>
        </p:txBody>
      </p:sp>
      <p:sp useBgFill="1">
        <p:nvSpPr>
          <p:cNvPr id="544" name="Espaço Reservado para Texto 2">
            <a:extLst>
              <a:ext uri="{FF2B5EF4-FFF2-40B4-BE49-F238E27FC236}">
                <a16:creationId xmlns:a16="http://schemas.microsoft.com/office/drawing/2014/main" id="{A6650B29-9FA7-5EA1-398B-C42F5ABEB760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5014913" y="3835400"/>
            <a:ext cx="322263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C33CAC0-F146-4DA9-8303-A7639E876164}" type="datetime'''''''''''''''''7''''''''''''7''1'''''''''''''''''''''''''''">
              <a:rPr lang="pt-BR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71</a:t>
            </a:fld>
            <a:endParaRPr lang="pt-BR" sz="1400" dirty="0"/>
          </a:p>
        </p:txBody>
      </p:sp>
      <p:sp>
        <p:nvSpPr>
          <p:cNvPr id="274" name="Espaço Reservado para Texto 2">
            <a:extLst>
              <a:ext uri="{FF2B5EF4-FFF2-40B4-BE49-F238E27FC236}">
                <a16:creationId xmlns:a16="http://schemas.microsoft.com/office/drawing/2014/main" id="{A6650B29-9FA7-5EA1-398B-C42F5ABEB760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9439275" y="5092701"/>
            <a:ext cx="285750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CFA7C8B-EE60-48AD-B096-D4A98C55E4B3}" type="datetime'''''''''''''''''''''''''''''''''''''''''26&#10;''''q''''''u''a'">
              <a:rPr lang="pt-BR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6
qua</a:t>
            </a:fld>
            <a:endParaRPr lang="pt-BR" sz="1400" dirty="0"/>
          </a:p>
        </p:txBody>
      </p:sp>
      <p:sp useBgFill="1">
        <p:nvSpPr>
          <p:cNvPr id="281" name="Espaço Reservado para Texto 2">
            <a:extLst>
              <a:ext uri="{FF2B5EF4-FFF2-40B4-BE49-F238E27FC236}">
                <a16:creationId xmlns:a16="http://schemas.microsoft.com/office/drawing/2014/main" id="{A6650B29-9FA7-5EA1-398B-C42F5ABEB760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5014913" y="4295775"/>
            <a:ext cx="322263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6CFD9A6-2499-4797-A72E-F73E3E516B3B}" type="datetime'''3''''9''''''''''''6'">
              <a:rPr lang="pt-BR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96</a:t>
            </a:fld>
            <a:endParaRPr lang="pt-BR" sz="1400" dirty="0"/>
          </a:p>
        </p:txBody>
      </p:sp>
      <p:sp>
        <p:nvSpPr>
          <p:cNvPr id="263" name="Espaço Reservado para Texto 2">
            <a:extLst>
              <a:ext uri="{FF2B5EF4-FFF2-40B4-BE49-F238E27FC236}">
                <a16:creationId xmlns:a16="http://schemas.microsoft.com/office/drawing/2014/main" id="{A6650B29-9FA7-5EA1-398B-C42F5ABEB760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5045075" y="5092701"/>
            <a:ext cx="261938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5E6B92D-F1D4-464B-926B-268A2104CF84}" type="datetime'1''''''''''''''''5''''''''''''''''''''&#10;''s''áb'''">
              <a:rPr lang="pt-BR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
sáb</a:t>
            </a:fld>
            <a:endParaRPr lang="pt-BR" sz="1400" dirty="0"/>
          </a:p>
        </p:txBody>
      </p:sp>
      <p:sp>
        <p:nvSpPr>
          <p:cNvPr id="260" name="Espaço Reservado para Texto 2">
            <a:extLst>
              <a:ext uri="{FF2B5EF4-FFF2-40B4-BE49-F238E27FC236}">
                <a16:creationId xmlns:a16="http://schemas.microsoft.com/office/drawing/2014/main" id="{A6650B29-9FA7-5EA1-398B-C42F5ABEB760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3830638" y="5092701"/>
            <a:ext cx="285750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048E2C7-0F12-44C2-A860-3CB1E4723A2C}" type="datetime'''1''''''2''''''''''''&#10;''''''''q''''''''u''''''''''a'''''''''">
              <a:rPr lang="pt-BR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2
qua</a:t>
            </a:fld>
            <a:endParaRPr lang="pt-BR" sz="1400" dirty="0"/>
          </a:p>
        </p:txBody>
      </p:sp>
      <p:sp>
        <p:nvSpPr>
          <p:cNvPr id="264" name="Espaço Reservado para Texto 2">
            <a:extLst>
              <a:ext uri="{FF2B5EF4-FFF2-40B4-BE49-F238E27FC236}">
                <a16:creationId xmlns:a16="http://schemas.microsoft.com/office/drawing/2014/main" id="{A6650B29-9FA7-5EA1-398B-C42F5ABEB760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5407025" y="5092701"/>
            <a:ext cx="341313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6BE5A50-7B32-4D3D-BBC0-25B823EB2D1A}" type="datetime'''1''''''''''''''''6''''''''''''&#10;''d''''''''''om'''">
              <a:rPr lang="pt-BR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6
dom</a:t>
            </a:fld>
            <a:endParaRPr lang="pt-BR" sz="1400" dirty="0"/>
          </a:p>
        </p:txBody>
      </p:sp>
      <p:sp>
        <p:nvSpPr>
          <p:cNvPr id="276" name="Espaço Reservado para Texto 2">
            <a:extLst>
              <a:ext uri="{FF2B5EF4-FFF2-40B4-BE49-F238E27FC236}">
                <a16:creationId xmlns:a16="http://schemas.microsoft.com/office/drawing/2014/main" id="{A6650B29-9FA7-5EA1-398B-C42F5ABEB760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10261600" y="5092701"/>
            <a:ext cx="246063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EC3269D-1344-4D24-B162-6BBF0D529144}" type="datetime'''''''28''''''&#10;''''s''''''''''''''''''''e''x'''''''''''''''">
              <a:rPr lang="pt-BR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8
sex</a:t>
            </a:fld>
            <a:endParaRPr lang="pt-BR" sz="1400" dirty="0"/>
          </a:p>
        </p:txBody>
      </p:sp>
      <p:sp>
        <p:nvSpPr>
          <p:cNvPr id="265" name="Espaço Reservado para Texto 2">
            <a:extLst>
              <a:ext uri="{FF2B5EF4-FFF2-40B4-BE49-F238E27FC236}">
                <a16:creationId xmlns:a16="http://schemas.microsoft.com/office/drawing/2014/main" id="{A6650B29-9FA7-5EA1-398B-C42F5ABEB760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5849938" y="5092701"/>
            <a:ext cx="255588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EE60ED0-0C77-4DDE-8C9F-2D6272BD1A66}" type="datetime'''''''1''7&#10;''''''''s''e''''''''''''''''''''''''''''''''''''g'">
              <a:rPr lang="pt-BR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7
seg</a:t>
            </a:fld>
            <a:endParaRPr lang="pt-BR" sz="1400" dirty="0"/>
          </a:p>
        </p:txBody>
      </p:sp>
      <p:sp>
        <p:nvSpPr>
          <p:cNvPr id="273" name="Espaço Reservado para Texto 2">
            <a:extLst>
              <a:ext uri="{FF2B5EF4-FFF2-40B4-BE49-F238E27FC236}">
                <a16:creationId xmlns:a16="http://schemas.microsoft.com/office/drawing/2014/main" id="{A6650B29-9FA7-5EA1-398B-C42F5ABEB760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9070975" y="5092701"/>
            <a:ext cx="222250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A447C0E-B369-4151-8FA2-90B6B676D1F5}" type="datetime'''''''''''''''''''''25''''''&#10;''''''t''e''''''''r'''''''">
              <a:rPr lang="pt-BR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5
ter</a:t>
            </a:fld>
            <a:endParaRPr lang="pt-BR" sz="1400" dirty="0"/>
          </a:p>
        </p:txBody>
      </p:sp>
      <p:sp>
        <p:nvSpPr>
          <p:cNvPr id="266" name="Espaço Reservado para Texto 2">
            <a:extLst>
              <a:ext uri="{FF2B5EF4-FFF2-40B4-BE49-F238E27FC236}">
                <a16:creationId xmlns:a16="http://schemas.microsoft.com/office/drawing/2014/main" id="{A6650B29-9FA7-5EA1-398B-C42F5ABEB760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6265863" y="5092701"/>
            <a:ext cx="222250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57EABF2-C01F-445E-AACE-77E75F03D13F}" type="datetime'''1''8''''''&#10;''t''''e''''''''''''''''''''r'''''">
              <a:rPr lang="pt-BR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8
ter</a:t>
            </a:fld>
            <a:endParaRPr lang="pt-BR" sz="1400" dirty="0"/>
          </a:p>
        </p:txBody>
      </p:sp>
      <p:sp>
        <p:nvSpPr>
          <p:cNvPr id="267" name="Espaço Reservado para Texto 2">
            <a:extLst>
              <a:ext uri="{FF2B5EF4-FFF2-40B4-BE49-F238E27FC236}">
                <a16:creationId xmlns:a16="http://schemas.microsoft.com/office/drawing/2014/main" id="{A6650B29-9FA7-5EA1-398B-C42F5ABEB760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6635750" y="5092701"/>
            <a:ext cx="285750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D48D9FF-2597-4980-96E9-C4B58359C9B5}" type="datetime'''''''''1''''9&#10;q''''''u''''''''''''a'''''''''''''">
              <a:rPr lang="pt-BR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9
qua</a:t>
            </a:fld>
            <a:endParaRPr lang="pt-BR" sz="1400" dirty="0"/>
          </a:p>
        </p:txBody>
      </p:sp>
      <p:sp>
        <p:nvSpPr>
          <p:cNvPr id="268" name="Espaço Reservado para Texto 2">
            <a:extLst>
              <a:ext uri="{FF2B5EF4-FFF2-40B4-BE49-F238E27FC236}">
                <a16:creationId xmlns:a16="http://schemas.microsoft.com/office/drawing/2014/main" id="{A6650B29-9FA7-5EA1-398B-C42F5ABEB760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7058025" y="5092701"/>
            <a:ext cx="241300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0BB8FE8-3C7F-448E-8A67-36E57EB9F05D}" type="datetime'''20''''''&#10;''''''''''''q''''''''''''''''''''u''''''''''i'''">
              <a:rPr lang="pt-BR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
qui</a:t>
            </a:fld>
            <a:endParaRPr lang="pt-BR" sz="1400" dirty="0"/>
          </a:p>
        </p:txBody>
      </p:sp>
      <p:sp>
        <p:nvSpPr>
          <p:cNvPr id="269" name="Espaço Reservado para Texto 2">
            <a:extLst>
              <a:ext uri="{FF2B5EF4-FFF2-40B4-BE49-F238E27FC236}">
                <a16:creationId xmlns:a16="http://schemas.microsoft.com/office/drawing/2014/main" id="{A6650B29-9FA7-5EA1-398B-C42F5ABEB760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7456488" y="5092701"/>
            <a:ext cx="246063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CE2E4BF-94FC-406C-B02E-DD0DEFFD3FF7}" type="datetime'2''''''''''''''1&#10;''''''''''se''''x'''''''''''''''''">
              <a:rPr lang="pt-BR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1
sex</a:t>
            </a:fld>
            <a:endParaRPr lang="pt-BR" sz="1400" dirty="0"/>
          </a:p>
        </p:txBody>
      </p:sp>
      <p:sp useBgFill="1">
        <p:nvSpPr>
          <p:cNvPr id="283" name="Espaço Reservado para Texto 2">
            <a:extLst>
              <a:ext uri="{FF2B5EF4-FFF2-40B4-BE49-F238E27FC236}">
                <a16:creationId xmlns:a16="http://schemas.microsoft.com/office/drawing/2014/main" id="{A6650B29-9FA7-5EA1-398B-C42F5ABEB760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7820025" y="4371975"/>
            <a:ext cx="322263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3BBC591-59F4-4B57-9958-0F30810A12EE}" type="datetime'''''''3''''3''''''''''''''''''4'''''''''''''''''''">
              <a:rPr lang="pt-BR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34</a:t>
            </a:fld>
            <a:endParaRPr lang="pt-BR" sz="1400" dirty="0"/>
          </a:p>
        </p:txBody>
      </p:sp>
      <p:sp>
        <p:nvSpPr>
          <p:cNvPr id="277" name="Espaço Reservado para Texto 2">
            <a:extLst>
              <a:ext uri="{FF2B5EF4-FFF2-40B4-BE49-F238E27FC236}">
                <a16:creationId xmlns:a16="http://schemas.microsoft.com/office/drawing/2014/main" id="{A6650B29-9FA7-5EA1-398B-C42F5ABEB760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10539413" y="5092700"/>
            <a:ext cx="4889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45F69D6-DFE2-4DC1-A882-D66B35B0DB36}" type="datetime'''''''R''ó''''''''''''tu''''''''l''''''''''''''''''''o'''''''">
              <a:rPr lang="pt-BR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Rótulo</a:t>
            </a:fld>
            <a:endParaRPr lang="pt-BR" sz="1400" dirty="0"/>
          </a:p>
        </p:txBody>
      </p:sp>
      <p:sp>
        <p:nvSpPr>
          <p:cNvPr id="270" name="Espaço Reservado para Texto 2">
            <a:extLst>
              <a:ext uri="{FF2B5EF4-FFF2-40B4-BE49-F238E27FC236}">
                <a16:creationId xmlns:a16="http://schemas.microsoft.com/office/drawing/2014/main" id="{A6650B29-9FA7-5EA1-398B-C42F5ABEB760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7850188" y="5092701"/>
            <a:ext cx="261938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9F5573A-0213-4B33-AE2A-AD0BC7E1585B}" type="datetime'''''2''''2''''''''&#10;s''''''''''''''''''''''''''á''b'''">
              <a:rPr lang="pt-BR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2
sáb</a:t>
            </a:fld>
            <a:endParaRPr lang="pt-BR" sz="1400" dirty="0"/>
          </a:p>
        </p:txBody>
      </p:sp>
      <p:sp useBgFill="1">
        <p:nvSpPr>
          <p:cNvPr id="551" name="Espaço Reservado para Texto 2">
            <a:extLst>
              <a:ext uri="{FF2B5EF4-FFF2-40B4-BE49-F238E27FC236}">
                <a16:creationId xmlns:a16="http://schemas.microsoft.com/office/drawing/2014/main" id="{A6650B29-9FA7-5EA1-398B-C42F5ABEB760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8264525" y="4697413"/>
            <a:ext cx="231775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D576FEC-643A-4F5D-BF47-A82234516186}" type="datetime'''''''''''''''''''''''''''''''''''''''''7''''''''''''0'''''''">
              <a:rPr lang="pt-BR" altLang="en-US" sz="1400" smtClean="0">
                <a:effectLst/>
              </a:rPr>
              <a:pPr/>
              <a:t>70</a:t>
            </a:fld>
            <a:endParaRPr lang="pt-BR" sz="1400" dirty="0"/>
          </a:p>
        </p:txBody>
      </p:sp>
      <p:sp>
        <p:nvSpPr>
          <p:cNvPr id="254" name="Espaço Reservado para Texto 2">
            <a:extLst>
              <a:ext uri="{FF2B5EF4-FFF2-40B4-BE49-F238E27FC236}">
                <a16:creationId xmlns:a16="http://schemas.microsoft.com/office/drawing/2014/main" id="{A6650B29-9FA7-5EA1-398B-C42F5ABEB760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1449388" y="5092701"/>
            <a:ext cx="241300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18B9B7B-B0E7-4E1A-AFE7-03F5E1E6AC99}" type="datetime'''0''''''''6''''&#10;''''''q''''''''''''''u''i'''''''''''''''''''">
              <a:rPr lang="pt-BR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6
qui</a:t>
            </a:fld>
            <a:endParaRPr lang="pt-BR" sz="1400" dirty="0"/>
          </a:p>
        </p:txBody>
      </p:sp>
      <p:sp useBgFill="1">
        <p:nvSpPr>
          <p:cNvPr id="555" name="Espaço Reservado para Texto 2">
            <a:extLst>
              <a:ext uri="{FF2B5EF4-FFF2-40B4-BE49-F238E27FC236}">
                <a16:creationId xmlns:a16="http://schemas.microsoft.com/office/drawing/2014/main" id="{A6650B29-9FA7-5EA1-398B-C42F5ABEB760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9753600" y="2530475"/>
            <a:ext cx="45720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B386839-C1F6-4048-B1DE-59EA022877EB}" type="datetime'''1''''''''''''''''.''8''''''''''3''''''''''''''2'''">
              <a:rPr lang="pt-BR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832</a:t>
            </a:fld>
            <a:endParaRPr lang="pt-BR" sz="1400" dirty="0"/>
          </a:p>
        </p:txBody>
      </p:sp>
      <p:sp>
        <p:nvSpPr>
          <p:cNvPr id="271" name="Espaço Reservado para Texto 2">
            <a:extLst>
              <a:ext uri="{FF2B5EF4-FFF2-40B4-BE49-F238E27FC236}">
                <a16:creationId xmlns:a16="http://schemas.microsoft.com/office/drawing/2014/main" id="{A6650B29-9FA7-5EA1-398B-C42F5ABEB760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8210550" y="5092701"/>
            <a:ext cx="341313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60A6A8E-F128-4662-8A18-7711C1A7A687}" type="datetime'''''''''''''''''''''''''''2''''3''&#10;''''d''''''''o''''m'''''">
              <a:rPr lang="pt-BR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3
dom</a:t>
            </a:fld>
            <a:endParaRPr lang="pt-BR" sz="1400" dirty="0"/>
          </a:p>
        </p:txBody>
      </p:sp>
      <p:sp>
        <p:nvSpPr>
          <p:cNvPr id="272" name="Espaço Reservado para Texto 2">
            <a:extLst>
              <a:ext uri="{FF2B5EF4-FFF2-40B4-BE49-F238E27FC236}">
                <a16:creationId xmlns:a16="http://schemas.microsoft.com/office/drawing/2014/main" id="{A6650B29-9FA7-5EA1-398B-C42F5ABEB760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8653463" y="5092701"/>
            <a:ext cx="255588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7A2AA14-EBF2-47DF-A003-CD8E3F5718A7}" type="datetime'''2''''''''''''4''&#10;s''''''''''''''e''''''''''''''''g'''''''">
              <a:rPr lang="pt-BR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4
seg</a:t>
            </a:fld>
            <a:endParaRPr lang="pt-BR" sz="1400" dirty="0"/>
          </a:p>
        </p:txBody>
      </p:sp>
      <p:sp useBgFill="1">
        <p:nvSpPr>
          <p:cNvPr id="552" name="Espaço Reservado para Texto 2">
            <a:extLst>
              <a:ext uri="{FF2B5EF4-FFF2-40B4-BE49-F238E27FC236}">
                <a16:creationId xmlns:a16="http://schemas.microsoft.com/office/drawing/2014/main" id="{A6650B29-9FA7-5EA1-398B-C42F5ABEB760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9066213" y="4770438"/>
            <a:ext cx="231775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396A6AF-9311-46B4-8D88-2EFDD89AE56A}" type="datetime'''''''10'''''''''''''''''''''''''''">
              <a:rPr lang="pt-BR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</a:t>
            </a:fld>
            <a:endParaRPr lang="pt-BR" sz="1400" dirty="0"/>
          </a:p>
        </p:txBody>
      </p:sp>
      <p:sp useBgFill="1">
        <p:nvSpPr>
          <p:cNvPr id="553" name="Espaço Reservado para Texto 2">
            <a:extLst>
              <a:ext uri="{FF2B5EF4-FFF2-40B4-BE49-F238E27FC236}">
                <a16:creationId xmlns:a16="http://schemas.microsoft.com/office/drawing/2014/main" id="{A6650B29-9FA7-5EA1-398B-C42F5ABEB760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gray">
          <a:xfrm>
            <a:off x="9021763" y="4608513"/>
            <a:ext cx="322263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0EA7352-ABE0-42E0-B294-AE1A498BE15F}" type="datetime'''''''''''''''''''''''1''''4''''''''''''2'''''''''''''''''''''">
              <a:rPr lang="pt-BR" altLang="en-US" sz="1400" smtClean="0">
                <a:effectLst/>
              </a:rPr>
              <a:pPr/>
              <a:t>142</a:t>
            </a:fld>
            <a:endParaRPr lang="pt-BR" sz="1400" dirty="0"/>
          </a:p>
        </p:txBody>
      </p:sp>
      <p:sp useBgFill="1">
        <p:nvSpPr>
          <p:cNvPr id="282" name="Espaço Reservado para Texto 2">
            <a:extLst>
              <a:ext uri="{FF2B5EF4-FFF2-40B4-BE49-F238E27FC236}">
                <a16:creationId xmlns:a16="http://schemas.microsoft.com/office/drawing/2014/main" id="{A6650B29-9FA7-5EA1-398B-C42F5ABEB760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5816600" y="4652963"/>
            <a:ext cx="322263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0B3B8DF-EF0F-47C5-921D-C15CC8FC3F11}" type="datetime'''''''1''''0''''6'''''''''''''''">
              <a:rPr lang="pt-BR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6</a:t>
            </a:fld>
            <a:endParaRPr lang="pt-BR" sz="1400" dirty="0"/>
          </a:p>
        </p:txBody>
      </p:sp>
      <p:sp>
        <p:nvSpPr>
          <p:cNvPr id="275" name="Espaço Reservado para Texto 2">
            <a:extLst>
              <a:ext uri="{FF2B5EF4-FFF2-40B4-BE49-F238E27FC236}">
                <a16:creationId xmlns:a16="http://schemas.microsoft.com/office/drawing/2014/main" id="{A6650B29-9FA7-5EA1-398B-C42F5ABEB760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auto">
          <a:xfrm>
            <a:off x="9861550" y="5092701"/>
            <a:ext cx="241300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726A19D-D70A-4A66-B54E-742F1CDF603B}" type="datetime'27&#10;''''q''''''''''''''''''''''u''''''''''''i'''''''''''''">
              <a:rPr lang="pt-BR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7
qui</a:t>
            </a:fld>
            <a:endParaRPr lang="pt-BR" sz="1400" dirty="0"/>
          </a:p>
        </p:txBody>
      </p:sp>
      <p:sp>
        <p:nvSpPr>
          <p:cNvPr id="572" name="Espaço Reservado para Texto 2">
            <a:extLst>
              <a:ext uri="{FF2B5EF4-FFF2-40B4-BE49-F238E27FC236}">
                <a16:creationId xmlns:a16="http://schemas.microsoft.com/office/drawing/2014/main" id="{A6650B29-9FA7-5EA1-398B-C42F5ABEB760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auto">
          <a:xfrm>
            <a:off x="11014075" y="3368675"/>
            <a:ext cx="406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C33A3B2-3562-4D3F-B8AC-8EDBB008088C}" type="datetime'1''''.''''''''2''''''''''''''''''7''''''''''''''''''''''6'''">
              <a:rPr lang="pt-BR" altLang="en-US" sz="1400" smtClean="0"/>
              <a:pPr/>
              <a:t>1.276</a:t>
            </a:fld>
            <a:endParaRPr lang="pt-BR" sz="1400" dirty="0"/>
          </a:p>
        </p:txBody>
      </p:sp>
      <p:sp useBgFill="1">
        <p:nvSpPr>
          <p:cNvPr id="279" name="Espaço Reservado para Texto 2">
            <a:extLst>
              <a:ext uri="{FF2B5EF4-FFF2-40B4-BE49-F238E27FC236}">
                <a16:creationId xmlns:a16="http://schemas.microsoft.com/office/drawing/2014/main" id="{A6650B29-9FA7-5EA1-398B-C42F5ABEB760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gray">
          <a:xfrm>
            <a:off x="2211388" y="4270375"/>
            <a:ext cx="322263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344B20B-AF17-49B8-9C2A-6E856E8DFBA0}" type="datetime'''''''''''''4''''''''''''''1''''7'''''''">
              <a:rPr lang="pt-BR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17</a:t>
            </a:fld>
            <a:endParaRPr lang="pt-BR" sz="1400" dirty="0"/>
          </a:p>
        </p:txBody>
      </p:sp>
      <p:sp>
        <p:nvSpPr>
          <p:cNvPr id="245" name="Espaço Reservado para Texto 2">
            <a:extLst>
              <a:ext uri="{FF2B5EF4-FFF2-40B4-BE49-F238E27FC236}">
                <a16:creationId xmlns:a16="http://schemas.microsoft.com/office/drawing/2014/main" id="{A6650B29-9FA7-5EA1-398B-C42F5ABEB760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auto">
          <a:xfrm>
            <a:off x="11014075" y="4578350"/>
            <a:ext cx="2714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BCC05BF-A7BC-4CC7-8A1F-58D88AF054F6}" type="datetime'''''''''''''''''''''''''''29''''''''''''''''''''''''2'''">
              <a:rPr lang="pt-BR" altLang="en-US" sz="1400" smtClean="0"/>
              <a:pPr/>
              <a:t>292</a:t>
            </a:fld>
            <a:endParaRPr lang="pt-BR" sz="1400" dirty="0"/>
          </a:p>
        </p:txBody>
      </p:sp>
      <p:sp>
        <p:nvSpPr>
          <p:cNvPr id="261" name="Espaço Reservado para Texto 2">
            <a:extLst>
              <a:ext uri="{FF2B5EF4-FFF2-40B4-BE49-F238E27FC236}">
                <a16:creationId xmlns:a16="http://schemas.microsoft.com/office/drawing/2014/main" id="{A6650B29-9FA7-5EA1-398B-C42F5ABEB760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auto">
          <a:xfrm>
            <a:off x="4252913" y="5092701"/>
            <a:ext cx="241300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CF6D165-3FC4-45B3-AAEF-318C3E1D9DD7}" type="datetime'''''''''''''1''3''&#10;''qu''''''''i'''''''''''''''''''''''''''">
              <a:rPr lang="pt-BR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3
qui</a:t>
            </a:fld>
            <a:endParaRPr lang="pt-BR" sz="1400" dirty="0"/>
          </a:p>
        </p:txBody>
      </p:sp>
      <p:sp useBgFill="1">
        <p:nvSpPr>
          <p:cNvPr id="563" name="Espaço Reservado para Texto 2">
            <a:extLst>
              <a:ext uri="{FF2B5EF4-FFF2-40B4-BE49-F238E27FC236}">
                <a16:creationId xmlns:a16="http://schemas.microsoft.com/office/drawing/2014/main" id="{A6650B29-9FA7-5EA1-398B-C42F5ABEB760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gray">
          <a:xfrm>
            <a:off x="8310563" y="4775200"/>
            <a:ext cx="141288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353D806-D341-4F8B-9D20-340157365BC6}" type="datetime'''''''''''''''''''''''''''''''''''''''7'''''''''''''''''''''''">
              <a:rPr lang="pt-BR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</a:t>
            </a:fld>
            <a:endParaRPr lang="pt-BR" sz="1400" dirty="0"/>
          </a:p>
        </p:txBody>
      </p:sp>
      <p:cxnSp>
        <p:nvCxnSpPr>
          <p:cNvPr id="242" name="Conector reto 241">
            <a:extLst>
              <a:ext uri="{FF2B5EF4-FFF2-40B4-BE49-F238E27FC236}">
                <a16:creationId xmlns:a16="http://schemas.microsoft.com/office/drawing/2014/main" id="{8EBFDF66-83FC-0750-1513-6E59888C7D5B}"/>
              </a:ext>
            </a:extLst>
          </p:cNvPr>
          <p:cNvCxnSpPr/>
          <p:nvPr>
            <p:custDataLst>
              <p:tags r:id="rId54"/>
            </p:custDataLst>
          </p:nvPr>
        </p:nvCxnSpPr>
        <p:spPr bwMode="gray">
          <a:xfrm>
            <a:off x="7043738" y="1541463"/>
            <a:ext cx="257175" cy="0"/>
          </a:xfrm>
          <a:prstGeom prst="line">
            <a:avLst/>
          </a:prstGeom>
          <a:ln w="28575" cap="rnd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3" name="Conector reto 242">
            <a:extLst>
              <a:ext uri="{FF2B5EF4-FFF2-40B4-BE49-F238E27FC236}">
                <a16:creationId xmlns:a16="http://schemas.microsoft.com/office/drawing/2014/main" id="{D6930332-14AF-2D88-7030-D54496C03B88}"/>
              </a:ext>
            </a:extLst>
          </p:cNvPr>
          <p:cNvCxnSpPr/>
          <p:nvPr>
            <p:custDataLst>
              <p:tags r:id="rId55"/>
            </p:custDataLst>
          </p:nvPr>
        </p:nvCxnSpPr>
        <p:spPr bwMode="gray">
          <a:xfrm>
            <a:off x="8255000" y="1541463"/>
            <a:ext cx="257175" cy="0"/>
          </a:xfrm>
          <a:prstGeom prst="line">
            <a:avLst/>
          </a:prstGeom>
          <a:ln w="28575" cap="rnd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A6650B29-9FA7-5EA1-398B-C42F5ABEB760}"/>
              </a:ext>
            </a:extLst>
          </p:cNvPr>
          <p:cNvSpPr>
            <a:spLocks noGrp="1"/>
          </p:cNvSpPr>
          <p:nvPr>
            <p:custDataLst>
              <p:tags r:id="rId56"/>
            </p:custDataLst>
          </p:nvPr>
        </p:nvSpPr>
        <p:spPr bwMode="auto">
          <a:xfrm>
            <a:off x="7366000" y="1447800"/>
            <a:ext cx="773113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D6B5639-F17E-4B15-BAEF-6B14B0C496B0}" type="datetime'''''''''''''cana''l'''' ''vo''''''''z'''''''">
              <a:rPr lang="pt-BR" altLang="en-US" sz="1600" b="1" smtClean="0">
                <a:solidFill>
                  <a:schemeClr val="accent1"/>
                </a:solidFill>
              </a:rPr>
              <a:pPr/>
              <a:t>canal voz</a:t>
            </a:fld>
            <a:endParaRPr lang="pt-BR" sz="1600" b="1" dirty="0">
              <a:solidFill>
                <a:schemeClr val="accent1"/>
              </a:solidFill>
            </a:endParaRPr>
          </a:p>
        </p:txBody>
      </p:sp>
      <p:sp>
        <p:nvSpPr>
          <p:cNvPr id="4" name="Espaço Reservado para Texto 2">
            <a:extLst>
              <a:ext uri="{FF2B5EF4-FFF2-40B4-BE49-F238E27FC236}">
                <a16:creationId xmlns:a16="http://schemas.microsoft.com/office/drawing/2014/main" id="{A6650B29-9FA7-5EA1-398B-C42F5ABEB760}"/>
              </a:ext>
            </a:extLst>
          </p:cNvPr>
          <p:cNvSpPr>
            <a:spLocks noGrp="1"/>
          </p:cNvSpPr>
          <p:nvPr>
            <p:custDataLst>
              <p:tags r:id="rId57"/>
            </p:custDataLst>
          </p:nvPr>
        </p:nvSpPr>
        <p:spPr bwMode="auto">
          <a:xfrm>
            <a:off x="8577263" y="1447800"/>
            <a:ext cx="1057275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93146D2-1618-41B8-AFDC-25A893A6C5FB}" type="datetime'''''''c''''a''''''''nal e''''''s''''''c''r''''''''ito'''''''''">
              <a:rPr lang="pt-BR" altLang="en-US" sz="1600" b="1" smtClean="0">
                <a:solidFill>
                  <a:schemeClr val="accent2"/>
                </a:solidFill>
              </a:rPr>
              <a:pPr/>
              <a:t>canal escrito</a:t>
            </a:fld>
            <a:endParaRPr lang="pt-BR" sz="1600" b="1" dirty="0">
              <a:solidFill>
                <a:schemeClr val="accent2"/>
              </a:solidFill>
            </a:endParaRPr>
          </a:p>
        </p:txBody>
      </p:sp>
      <p:sp>
        <p:nvSpPr>
          <p:cNvPr id="315" name="CaixaDeTexto 314">
            <a:extLst>
              <a:ext uri="{FF2B5EF4-FFF2-40B4-BE49-F238E27FC236}">
                <a16:creationId xmlns:a16="http://schemas.microsoft.com/office/drawing/2014/main" id="{491317C4-BA8C-30FB-E3CA-F5BBFF6B540D}"/>
              </a:ext>
            </a:extLst>
          </p:cNvPr>
          <p:cNvSpPr txBox="1"/>
          <p:nvPr/>
        </p:nvSpPr>
        <p:spPr>
          <a:xfrm>
            <a:off x="286990" y="5941497"/>
            <a:ext cx="741863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b="1" dirty="0"/>
              <a:t>Obs.: </a:t>
            </a:r>
            <a:r>
              <a:rPr lang="pt-BR" altLang="en-US" sz="1800" dirty="0"/>
              <a:t>Linhas pontilhadas representam a média de chamado para cada canal </a:t>
            </a:r>
            <a:r>
              <a:rPr lang="pt-BR" b="1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11146363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7D11EA1B-9BDB-E2C9-27CF-E8FAC17D24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54925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421" imgH="420" progId="TCLayout.ActiveDocument.1">
                  <p:embed/>
                </p:oleObj>
              </mc:Choice>
              <mc:Fallback>
                <p:oleObj name="Slide do think-cell" r:id="rId4" imgW="421" imgH="42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7D11EA1B-9BDB-E2C9-27CF-E8FAC17D24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aixaDeTexto 2">
            <a:extLst>
              <a:ext uri="{FF2B5EF4-FFF2-40B4-BE49-F238E27FC236}">
                <a16:creationId xmlns:a16="http://schemas.microsoft.com/office/drawing/2014/main" id="{F732C87E-F320-9C94-DED4-CAE794BAFC77}"/>
              </a:ext>
            </a:extLst>
          </p:cNvPr>
          <p:cNvSpPr txBox="1"/>
          <p:nvPr/>
        </p:nvSpPr>
        <p:spPr>
          <a:xfrm>
            <a:off x="334963" y="4208929"/>
            <a:ext cx="117211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2000" dirty="0">
                <a:solidFill>
                  <a:schemeClr val="bg1"/>
                </a:solidFill>
              </a:rPr>
              <a:t>O que é ?</a:t>
            </a: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05C01605-14B9-E665-8547-138797A4F474}"/>
              </a:ext>
            </a:extLst>
          </p:cNvPr>
          <p:cNvSpPr txBox="1"/>
          <p:nvPr/>
        </p:nvSpPr>
        <p:spPr>
          <a:xfrm>
            <a:off x="334962" y="4609038"/>
            <a:ext cx="11522075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600" b="1" dirty="0">
                <a:solidFill>
                  <a:schemeClr val="bg1"/>
                </a:solidFill>
              </a:rPr>
              <a:t>O relatório de performance das campanhas de marketing aplicadas nas cidades do Brasil durante o período de 21/02/21 até 29/05/21.</a:t>
            </a:r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id="{515BF366-247A-FACC-F2F1-6095190621B9}"/>
              </a:ext>
            </a:extLst>
          </p:cNvPr>
          <p:cNvSpPr txBox="1"/>
          <p:nvPr/>
        </p:nvSpPr>
        <p:spPr>
          <a:xfrm>
            <a:off x="334963" y="296863"/>
            <a:ext cx="1152207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400" b="1" dirty="0">
                <a:solidFill>
                  <a:srgbClr val="3957BD"/>
                </a:solidFill>
              </a:rPr>
              <a:t>Pontos Focais</a:t>
            </a:r>
            <a:endParaRPr lang="pt-BR" sz="4000" dirty="0">
              <a:solidFill>
                <a:srgbClr val="3957BD"/>
              </a:solidFill>
            </a:endParaRPr>
          </a:p>
        </p:txBody>
      </p:sp>
      <p:sp>
        <p:nvSpPr>
          <p:cNvPr id="6" name="CaixaDeTexto 5">
            <a:extLst>
              <a:ext uri="{FF2B5EF4-FFF2-40B4-BE49-F238E27FC236}">
                <a16:creationId xmlns:a16="http://schemas.microsoft.com/office/drawing/2014/main" id="{052EAFD9-ABF3-FC98-0959-9BF9442A85BF}"/>
              </a:ext>
            </a:extLst>
          </p:cNvPr>
          <p:cNvSpPr txBox="1"/>
          <p:nvPr/>
        </p:nvSpPr>
        <p:spPr>
          <a:xfrm>
            <a:off x="427209" y="1066099"/>
            <a:ext cx="11522073" cy="58477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dirty="0"/>
              <a:t>Pessoas Envolvidas para aumento da escala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2400" dirty="0"/>
              <a:t>Gestão do time de atendimento ao client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2400" dirty="0"/>
              <a:t>Objetivos: entender melhor as estratégias aplicadas; pegar a experiência de erros e acertos no processo; discussão de novas implementações; entender a segmentação da equipe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endParaRPr lang="pt-BR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2400" dirty="0"/>
              <a:t>Especialista do </a:t>
            </a:r>
            <a:r>
              <a:rPr lang="pt-BR" sz="2400" dirty="0" err="1"/>
              <a:t>Zendesk</a:t>
            </a:r>
            <a:endParaRPr lang="pt-BR" sz="24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2400" dirty="0"/>
              <a:t>Objetivo: entender melhor da plataforma, do pipeline de dados e ajustar como os dados são ingeridos e os tratamentos necessário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pt-BR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2400" dirty="0"/>
              <a:t>Time de atendimento de corretores e broker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2400" dirty="0"/>
              <a:t>Objetivo: entender qual a demanda que temos dessas partes, propor novas medidas mais digitai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28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2800" dirty="0"/>
          </a:p>
        </p:txBody>
      </p:sp>
    </p:spTree>
    <p:extLst>
      <p:ext uri="{BB962C8B-B14F-4D97-AF65-F5344CB8AC3E}">
        <p14:creationId xmlns:p14="http://schemas.microsoft.com/office/powerpoint/2010/main" val="154092561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7D11EA1B-9BDB-E2C9-27CF-E8FAC17D24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770493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421" imgH="420" progId="TCLayout.ActiveDocument.1">
                  <p:embed/>
                </p:oleObj>
              </mc:Choice>
              <mc:Fallback>
                <p:oleObj name="Slide do think-cell" r:id="rId4" imgW="421" imgH="42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7D11EA1B-9BDB-E2C9-27CF-E8FAC17D24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aixaDeTexto 2">
            <a:extLst>
              <a:ext uri="{FF2B5EF4-FFF2-40B4-BE49-F238E27FC236}">
                <a16:creationId xmlns:a16="http://schemas.microsoft.com/office/drawing/2014/main" id="{F732C87E-F320-9C94-DED4-CAE794BAFC77}"/>
              </a:ext>
            </a:extLst>
          </p:cNvPr>
          <p:cNvSpPr txBox="1"/>
          <p:nvPr/>
        </p:nvSpPr>
        <p:spPr>
          <a:xfrm>
            <a:off x="334963" y="4208929"/>
            <a:ext cx="117211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2000" dirty="0">
                <a:solidFill>
                  <a:schemeClr val="bg1"/>
                </a:solidFill>
              </a:rPr>
              <a:t>O que é ?</a:t>
            </a:r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id="{515BF366-247A-FACC-F2F1-6095190621B9}"/>
              </a:ext>
            </a:extLst>
          </p:cNvPr>
          <p:cNvSpPr txBox="1"/>
          <p:nvPr/>
        </p:nvSpPr>
        <p:spPr>
          <a:xfrm>
            <a:off x="334963" y="296863"/>
            <a:ext cx="1152207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400" b="1" dirty="0">
                <a:solidFill>
                  <a:srgbClr val="3957BD"/>
                </a:solidFill>
              </a:rPr>
              <a:t>Próximos Passos de Análises</a:t>
            </a:r>
            <a:r>
              <a:rPr lang="pt-BR" sz="4400" dirty="0">
                <a:solidFill>
                  <a:srgbClr val="3957BD"/>
                </a:solidFill>
              </a:rPr>
              <a:t> </a:t>
            </a:r>
            <a:endParaRPr lang="pt-BR" sz="4000" dirty="0">
              <a:solidFill>
                <a:srgbClr val="3957BD"/>
              </a:solidFill>
            </a:endParaRPr>
          </a:p>
        </p:txBody>
      </p:sp>
      <p:sp>
        <p:nvSpPr>
          <p:cNvPr id="6" name="CaixaDeTexto 5">
            <a:extLst>
              <a:ext uri="{FF2B5EF4-FFF2-40B4-BE49-F238E27FC236}">
                <a16:creationId xmlns:a16="http://schemas.microsoft.com/office/drawing/2014/main" id="{052EAFD9-ABF3-FC98-0959-9BF9442A85BF}"/>
              </a:ext>
            </a:extLst>
          </p:cNvPr>
          <p:cNvSpPr txBox="1"/>
          <p:nvPr/>
        </p:nvSpPr>
        <p:spPr>
          <a:xfrm>
            <a:off x="427209" y="1066099"/>
            <a:ext cx="11522073" cy="4893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pt-BR" sz="2400" dirty="0"/>
          </a:p>
          <a:p>
            <a:r>
              <a:rPr lang="pt-BR" sz="2400" dirty="0"/>
              <a:t>Dados necessários:</a:t>
            </a:r>
          </a:p>
          <a:p>
            <a:endParaRPr lang="pt-BR" sz="2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2400" dirty="0" err="1"/>
              <a:t>Tagueamento</a:t>
            </a:r>
            <a:r>
              <a:rPr lang="pt-BR" sz="2400" dirty="0"/>
              <a:t> das solicitações via api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2400" dirty="0"/>
              <a:t>Objetivo: entender quais as principais demandas vindas do canal api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pt-BR" sz="2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2400" dirty="0"/>
              <a:t>Clientes que deixaram os serviços (</a:t>
            </a:r>
            <a:r>
              <a:rPr lang="pt-BR" sz="2400" dirty="0" err="1"/>
              <a:t>Churn</a:t>
            </a:r>
            <a:r>
              <a:rPr lang="pt-BR" sz="2400" dirty="0"/>
              <a:t>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2400" dirty="0"/>
              <a:t>Objetivo: entender o público que </a:t>
            </a:r>
            <a:r>
              <a:rPr lang="pt-BR" sz="2400" dirty="0" err="1"/>
              <a:t>churneou</a:t>
            </a:r>
            <a:r>
              <a:rPr lang="pt-BR" sz="2400" dirty="0"/>
              <a:t> e se tivemos contato com ele na central de atendimento</a:t>
            </a:r>
          </a:p>
          <a:p>
            <a:pPr lvl="1"/>
            <a:endParaRPr lang="pt-BR" sz="2400" dirty="0"/>
          </a:p>
          <a:p>
            <a:pPr marL="457200" indent="-285750">
              <a:buFont typeface="Arial" panose="020B0604020202020204" pitchFamily="34" charset="0"/>
              <a:buChar char="•"/>
            </a:pPr>
            <a:r>
              <a:rPr lang="pt-BR" sz="2400" dirty="0"/>
              <a:t>Localização</a:t>
            </a:r>
          </a:p>
          <a:p>
            <a:pPr marL="914400" lvl="1" indent="-285750">
              <a:buFont typeface="Arial" panose="020B0604020202020204" pitchFamily="34" charset="0"/>
              <a:buChar char="•"/>
            </a:pPr>
            <a:r>
              <a:rPr lang="pt-BR" sz="2400" dirty="0"/>
              <a:t>Objetivo: entender o avanço da atração em novos bairros e dos bairros fora da área de operação</a:t>
            </a:r>
            <a:endParaRPr lang="pt-BR" sz="2800" dirty="0"/>
          </a:p>
        </p:txBody>
      </p:sp>
    </p:spTree>
    <p:extLst>
      <p:ext uri="{BB962C8B-B14F-4D97-AF65-F5344CB8AC3E}">
        <p14:creationId xmlns:p14="http://schemas.microsoft.com/office/powerpoint/2010/main" val="116079617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7D11EA1B-9BDB-E2C9-27CF-E8FAC17D24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421" imgH="420" progId="TCLayout.ActiveDocument.1">
                  <p:embed/>
                </p:oleObj>
              </mc:Choice>
              <mc:Fallback>
                <p:oleObj name="Slide do think-cell" r:id="rId4" imgW="421" imgH="42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7D11EA1B-9BDB-E2C9-27CF-E8FAC17D24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aixaDeTexto 2">
            <a:extLst>
              <a:ext uri="{FF2B5EF4-FFF2-40B4-BE49-F238E27FC236}">
                <a16:creationId xmlns:a16="http://schemas.microsoft.com/office/drawing/2014/main" id="{F732C87E-F320-9C94-DED4-CAE794BAFC77}"/>
              </a:ext>
            </a:extLst>
          </p:cNvPr>
          <p:cNvSpPr txBox="1"/>
          <p:nvPr/>
        </p:nvSpPr>
        <p:spPr>
          <a:xfrm>
            <a:off x="334963" y="4208929"/>
            <a:ext cx="117211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2000" dirty="0">
                <a:solidFill>
                  <a:schemeClr val="bg1"/>
                </a:solidFill>
              </a:rPr>
              <a:t>O que é ?</a:t>
            </a: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05C01605-14B9-E665-8547-138797A4F474}"/>
              </a:ext>
            </a:extLst>
          </p:cNvPr>
          <p:cNvSpPr txBox="1"/>
          <p:nvPr/>
        </p:nvSpPr>
        <p:spPr>
          <a:xfrm>
            <a:off x="334962" y="4609038"/>
            <a:ext cx="11522075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600" b="1" dirty="0">
                <a:solidFill>
                  <a:schemeClr val="bg1"/>
                </a:solidFill>
              </a:rPr>
              <a:t>O relatório de performance das campanhas de marketing aplicadas nas cidades do Brasil durante o período de 21/02/21 até 29/05/21.</a:t>
            </a:r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id="{515BF366-247A-FACC-F2F1-6095190621B9}"/>
              </a:ext>
            </a:extLst>
          </p:cNvPr>
          <p:cNvSpPr txBox="1"/>
          <p:nvPr/>
        </p:nvSpPr>
        <p:spPr>
          <a:xfrm>
            <a:off x="334963" y="296863"/>
            <a:ext cx="1152207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400" b="1" dirty="0">
                <a:solidFill>
                  <a:srgbClr val="3957BD"/>
                </a:solidFill>
              </a:rPr>
              <a:t>Principais KPIs</a:t>
            </a:r>
            <a:endParaRPr lang="pt-BR" sz="4000" dirty="0">
              <a:solidFill>
                <a:srgbClr val="3957BD"/>
              </a:solidFill>
            </a:endParaRPr>
          </a:p>
        </p:txBody>
      </p:sp>
      <p:sp>
        <p:nvSpPr>
          <p:cNvPr id="6" name="CaixaDeTexto 5">
            <a:extLst>
              <a:ext uri="{FF2B5EF4-FFF2-40B4-BE49-F238E27FC236}">
                <a16:creationId xmlns:a16="http://schemas.microsoft.com/office/drawing/2014/main" id="{052EAFD9-ABF3-FC98-0959-9BF9442A85BF}"/>
              </a:ext>
            </a:extLst>
          </p:cNvPr>
          <p:cNvSpPr txBox="1"/>
          <p:nvPr/>
        </p:nvSpPr>
        <p:spPr>
          <a:xfrm>
            <a:off x="427209" y="1066099"/>
            <a:ext cx="11522073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dirty="0"/>
              <a:t>Para acompanhamento e evolução do projeto:</a:t>
            </a:r>
          </a:p>
          <a:p>
            <a:endParaRPr lang="pt-BR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2400" dirty="0" err="1"/>
              <a:t>First</a:t>
            </a:r>
            <a:r>
              <a:rPr lang="pt-BR" sz="2400" dirty="0"/>
              <a:t> </a:t>
            </a:r>
            <a:r>
              <a:rPr lang="pt-BR" sz="2400" dirty="0" err="1"/>
              <a:t>Call</a:t>
            </a:r>
            <a:r>
              <a:rPr lang="pt-BR" sz="2400" dirty="0"/>
              <a:t> </a:t>
            </a:r>
            <a:r>
              <a:rPr lang="pt-BR" sz="2400" dirty="0" err="1"/>
              <a:t>Resolution</a:t>
            </a:r>
            <a:r>
              <a:rPr lang="pt-BR" sz="2400" dirty="0"/>
              <a:t> / Resolução no Primeiro Contato (FCR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2400" dirty="0"/>
              <a:t>Objetivo: monitorar a taxa dos problemas resolvidos na primeira chamada, buscando aumentar a taxa de solução no primeiro chamad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2400" dirty="0"/>
              <a:t> </a:t>
            </a:r>
            <a:r>
              <a:rPr lang="pt-BR" sz="2400" dirty="0" err="1"/>
              <a:t>Customer</a:t>
            </a:r>
            <a:r>
              <a:rPr lang="pt-BR" sz="2400" dirty="0"/>
              <a:t> </a:t>
            </a:r>
            <a:r>
              <a:rPr lang="pt-BR" sz="2400" dirty="0" err="1"/>
              <a:t>Satisfaction</a:t>
            </a:r>
            <a:r>
              <a:rPr lang="pt-BR" sz="2400" dirty="0"/>
              <a:t> Score (CSAT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2400" dirty="0"/>
              <a:t>Objetivo: buscar entender a satisfação e experiência do cliente com o serviço que acabou de ser prestad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2400" dirty="0"/>
              <a:t>Índice do Esforço do Cliente (</a:t>
            </a:r>
            <a:r>
              <a:rPr lang="pt-BR" sz="2400" dirty="0" err="1"/>
              <a:t>Customer</a:t>
            </a:r>
            <a:r>
              <a:rPr lang="pt-BR" sz="2400" dirty="0"/>
              <a:t> </a:t>
            </a:r>
            <a:r>
              <a:rPr lang="pt-BR" sz="2400" dirty="0" err="1"/>
              <a:t>Effort</a:t>
            </a:r>
            <a:r>
              <a:rPr lang="pt-BR" sz="2400" dirty="0"/>
              <a:t> Score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2400" dirty="0"/>
              <a:t>Objetivo: acompanhar a qualidade do nosso atendimento e a percepção do nosso cliente sobre o nosso prepar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2400" dirty="0"/>
              <a:t>Net Promoter Score (NPS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2400" dirty="0"/>
              <a:t>Objetivo: acompanhar a qualidade do nosso atendimento e se o cliente continua sendo nosso promotor</a:t>
            </a:r>
          </a:p>
        </p:txBody>
      </p:sp>
    </p:spTree>
    <p:extLst>
      <p:ext uri="{BB962C8B-B14F-4D97-AF65-F5344CB8AC3E}">
        <p14:creationId xmlns:p14="http://schemas.microsoft.com/office/powerpoint/2010/main" val="5001341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303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&amp;#xD;%a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8&quot;&gt;&lt;elem m_fUsage=&quot;1.89999999999999991118E+00&quot;&gt;&lt;m_msothmcolidx val=&quot;0&quot;/&gt;&lt;m_rgb r=&quot;C6&quot; g=&quot;47&quot; b=&quot;29&quot;/&gt;&lt;/elem&gt;&lt;elem m_fUsage=&quot;8.10000000000000053291E-01&quot;&gt;&lt;m_msothmcolidx val=&quot;0&quot;/&gt;&lt;m_rgb r=&quot;E1&quot; g=&quot;A7&quot; b=&quot;AF&quot;/&gt;&lt;/elem&gt;&lt;elem m_fUsage=&quot;7.29000000000000092371E-01&quot;&gt;&lt;m_msothmcolidx val=&quot;0&quot;/&gt;&lt;m_rgb r=&quot;63&quot; g=&quot;37&quot; b=&quot;58&quot;/&gt;&lt;/elem&gt;&lt;elem m_fUsage=&quot;6.56100000000000127542E-01&quot;&gt;&lt;m_msothmcolidx val=&quot;0&quot;/&gt;&lt;m_rgb r=&quot;46&quot; g=&quot;77&quot; b=&quot;7A&quot;/&gt;&lt;/elem&gt;&lt;elem m_fUsage=&quot;5.90490000000000181402E-01&quot;&gt;&lt;m_msothmcolidx val=&quot;0&quot;/&gt;&lt;m_rgb r=&quot;39&quot; g=&quot;57&quot; b=&quot;BD&quot;/&gt;&lt;/elem&gt;&lt;elem m_fUsage=&quot;5.31441000000000163261E-01&quot;&gt;&lt;m_msothmcolidx val=&quot;0&quot;/&gt;&lt;m_rgb r=&quot;CF&quot; g=&quot;B5&quot; b=&quot;FF&quot;/&gt;&lt;/elem&gt;&lt;elem m_fUsage=&quot;4.78296900000000135833E-01&quot;&gt;&lt;m_msothmcolidx val=&quot;0&quot;/&gt;&lt;m_rgb r=&quot;17&quot; g=&quot;60&quot; b=&quot;CE&quot;/&gt;&lt;/elem&gt;&lt;elem m_fUsage=&quot;4.30467210000000155556E-01&quot;&gt;&lt;m_msothmcolidx val=&quot;0&quot;/&gt;&lt;m_rgb r=&quot;32&quot; g=&quot;3E&quot; b=&quot;49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bt6sPCYMQ.jLDfTsI1rn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nwX.iQp05jwGWKG1Z79z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Yy8._esFLe4sRxeqAq1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uV4JQQ9cuhnBZWk3ALEn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FEVnFHtQ4GJ0XuEKySNe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_zgDFxb.72d374FYrHXR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0T2LVF_8liph0oLHIda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BxbzZ5Fwc6uoQfXHWVK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NYXrJb.0DlMeUuYLSv_x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AEDaAGxySE2osI0ZH9DK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WpShfGOYxxSlxFKtBKZ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29aqQshjWWsr0Kt.iHDW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ptM6alMZPZNeOSEJ3Uy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u4xQV3fbx7CyjK3xEIeg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nl4mQ8oaLV2ODXKf3KwL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nyuD6itv3pJSqPh7vGsQ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xnhJMTguOsfc4TQtig36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QAVsdk5TuT80CrgjZ1W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b2.xLPMSzqnmxGFVufo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yraaXPN2Sp90GP4JCwx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BxbzZ5Fwc6uoQfXHWVK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u4xQV3fbx7CyjK3xEIeg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nyuD6itv3pJSqPh7vGsQ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nl4mQ8oaLV2ODXKf3KwL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kJV_s7DTRPrwYmEzDALK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2GlaTa6MeuW5n9ZviYDF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LApCdylYwJdPkP9jKws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j50zClMGzuiUMSdqZEE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1fyyoMNYcshaeoyMPAxB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Rkj7wh0AsysNGcGCbGZ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38ct.jvRK_UMIRicvoDM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7CGEpFqVwBvMkv3cTXUz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6AsZ2TUbi0al5vg8d2z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Y7IgI.d3urhXhTX7pCx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9MwtxKTJwcBzms0A3jWu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7jBpI3x.GPN6LUEWzkkb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auFmqh2bsqLbhassYzh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wJjA9duyST4aj6e8ypt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GijWlfx98_qPqKlfAtUq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iGoIJE8lg6vOiXD3gDc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T1KAANZqhZsfe728HKAn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8hHICFZIPOcHMr3lYy3c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.lRfwO9WrHG52UInztOI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JPp6VtQqQlQpDfNDxaX9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PlYotmUpVJoz2K3ycCJh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yT1_lp95tUxvST4Y4nNL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2knCWMQkIZnoSd_pYUwy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1J7WGLxFqWYlQoqTq5RP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5Px0H58tD2r.wj4T4Jli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w7vepyTNhw5uxctWPxo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wiu59SA.wSYtLaYbmVi3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.Lo6.VrOQNBMZwfeO5.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clHPoI8edqetBRGrAYpf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JMWwHoQ5Ql_iSM1WNqK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6pB9j9lFcr6iwpn8Yfkf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IMGQtsnunOxevbm4Dod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_078RJLOdvJk23AGlFv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Z2ABn5NNfKMAFLXtvK2i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ZxhpsyCDAK.aGqHenGq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iBxPhRDva_Gaz_0jMxcF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1l46NbOeu4irsEmXyuY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3x1JmI.V3M8KWn2iaRfn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_kzvPOTuG9HxPvnWzpd_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bzH9SS.iqCGaLbQadyY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zRf0EF4pO8Of4jk8RMwY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.vO9F9rQEPPp7vTOpune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YBL7YLrcVUQhXEqMv66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diN_u9EBDX2JEPWHE6ND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mGuFGQveoTqTOoX2mJH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QnNB7c1P0YY1W1C_QWt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Xs6ytFHafqonPkpPdstG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WYW4a40.sc9VzkyAw.wS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kvjVn6LedNN.FO.jEplz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.Z8pF4y1jHS5HPEINdXI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cJuxlLX9OMyi9xEyFs5I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hMnpKRYJgmfw43QvX04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Q_3PfKXHrS.SCFwk6IFG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2wFDVcDeQk32oCzcyT_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5L.WMiMWFQI6IqpB.OAu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76DAqPMCkj0fg4EDP_Lg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QMtmACnZJCXe70KNQWWR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_K8n.kuXwr6_kPDRd42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5kSi8rhLKfA38hFTZrpG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7MQ3iwNG5nfR2_.OvEyb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iCcLFtBReuz6WwPf0.p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BhYas36H25RDct01sUcY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u_vCgDVaXkpRO99.Xs.T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XlzpKcA6k1K8wtTEMli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ccluP0o5hK.dmroQ5SvVg"/>
</p:tagLst>
</file>

<file path=ppt/theme/theme1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73</TotalTime>
  <Words>725</Words>
  <Application>Microsoft Office PowerPoint</Application>
  <PresentationFormat>Widescreen</PresentationFormat>
  <Paragraphs>181</Paragraphs>
  <Slides>7</Slides>
  <Notes>7</Notes>
  <HiddenSlides>0</HiddenSlides>
  <MMClips>0</MMClips>
  <ScaleCrop>false</ScaleCrop>
  <HeadingPairs>
    <vt:vector size="8" baseType="variant">
      <vt:variant>
        <vt:lpstr>Fontes usadas</vt:lpstr>
      </vt:variant>
      <vt:variant>
        <vt:i4>3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7</vt:i4>
      </vt:variant>
    </vt:vector>
  </HeadingPairs>
  <TitlesOfParts>
    <vt:vector size="12" baseType="lpstr">
      <vt:lpstr>Arial</vt:lpstr>
      <vt:lpstr>Calibri</vt:lpstr>
      <vt:lpstr>Calibri Light</vt:lpstr>
      <vt:lpstr>Tema do Office</vt:lpstr>
      <vt:lpstr>Slide do think-cell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Matheus Mendes</dc:creator>
  <cp:lastModifiedBy>Matheus Mendes</cp:lastModifiedBy>
  <cp:revision>8</cp:revision>
  <dcterms:created xsi:type="dcterms:W3CDTF">2023-03-11T16:05:14Z</dcterms:created>
  <dcterms:modified xsi:type="dcterms:W3CDTF">2023-03-24T02:34:37Z</dcterms:modified>
</cp:coreProperties>
</file>